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1881838638" r:id="rId2"/>
    <p:sldId id="1881838642" r:id="rId3"/>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CBCD"/>
    <a:srgbClr val="D9D9D9"/>
    <a:srgbClr val="FF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863174-A4D6-40FC-87CB-EB217C5B4254}" v="265" dt="2022-10-05T17:26:55.6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ttore Minelli" userId="7870a1ad-01cf-4239-8cce-750deae7f4ef" providerId="ADAL" clId="{97863174-A4D6-40FC-87CB-EB217C5B4254}"/>
    <pc:docChg chg="undo redo custSel addSld delSld modSld sldOrd delMainMaster">
      <pc:chgData name="Ettore Minelli" userId="7870a1ad-01cf-4239-8cce-750deae7f4ef" providerId="ADAL" clId="{97863174-A4D6-40FC-87CB-EB217C5B4254}" dt="2022-10-05T17:26:55.698" v="3740"/>
      <pc:docMkLst>
        <pc:docMk/>
      </pc:docMkLst>
      <pc:sldChg chg="delSp new del mod">
        <pc:chgData name="Ettore Minelli" userId="7870a1ad-01cf-4239-8cce-750deae7f4ef" providerId="ADAL" clId="{97863174-A4D6-40FC-87CB-EB217C5B4254}" dt="2022-10-04T16:13:00.147" v="9" actId="47"/>
        <pc:sldMkLst>
          <pc:docMk/>
          <pc:sldMk cId="403211079" sldId="256"/>
        </pc:sldMkLst>
        <pc:spChg chg="del">
          <ac:chgData name="Ettore Minelli" userId="7870a1ad-01cf-4239-8cce-750deae7f4ef" providerId="ADAL" clId="{97863174-A4D6-40FC-87CB-EB217C5B4254}" dt="2022-10-04T16:12:25.104" v="1" actId="478"/>
          <ac:spMkLst>
            <pc:docMk/>
            <pc:sldMk cId="403211079" sldId="256"/>
            <ac:spMk id="2" creationId="{540E1385-5E4B-45EE-9AF4-F33613E30EA9}"/>
          </ac:spMkLst>
        </pc:spChg>
        <pc:spChg chg="del">
          <ac:chgData name="Ettore Minelli" userId="7870a1ad-01cf-4239-8cce-750deae7f4ef" providerId="ADAL" clId="{97863174-A4D6-40FC-87CB-EB217C5B4254}" dt="2022-10-04T16:12:29.304" v="2" actId="478"/>
          <ac:spMkLst>
            <pc:docMk/>
            <pc:sldMk cId="403211079" sldId="256"/>
            <ac:spMk id="3" creationId="{2AAE0962-9A63-4126-9519-2A453289D837}"/>
          </ac:spMkLst>
        </pc:spChg>
      </pc:sldChg>
      <pc:sldChg chg="delSp new del mod">
        <pc:chgData name="Ettore Minelli" userId="7870a1ad-01cf-4239-8cce-750deae7f4ef" providerId="ADAL" clId="{97863174-A4D6-40FC-87CB-EB217C5B4254}" dt="2022-10-04T16:13:00.147" v="9" actId="47"/>
        <pc:sldMkLst>
          <pc:docMk/>
          <pc:sldMk cId="367212206" sldId="257"/>
        </pc:sldMkLst>
        <pc:spChg chg="del">
          <ac:chgData name="Ettore Minelli" userId="7870a1ad-01cf-4239-8cce-750deae7f4ef" providerId="ADAL" clId="{97863174-A4D6-40FC-87CB-EB217C5B4254}" dt="2022-10-04T16:12:33.839" v="4" actId="478"/>
          <ac:spMkLst>
            <pc:docMk/>
            <pc:sldMk cId="367212206" sldId="257"/>
            <ac:spMk id="2" creationId="{AECE2BF5-204A-489F-89CE-932B05ABC0F4}"/>
          </ac:spMkLst>
        </pc:spChg>
        <pc:spChg chg="del">
          <ac:chgData name="Ettore Minelli" userId="7870a1ad-01cf-4239-8cce-750deae7f4ef" providerId="ADAL" clId="{97863174-A4D6-40FC-87CB-EB217C5B4254}" dt="2022-10-04T16:12:34.780" v="5" actId="478"/>
          <ac:spMkLst>
            <pc:docMk/>
            <pc:sldMk cId="367212206" sldId="257"/>
            <ac:spMk id="3" creationId="{C8E75687-A7E2-4C99-A897-EA7DA8D4A42F}"/>
          </ac:spMkLst>
        </pc:spChg>
      </pc:sldChg>
      <pc:sldChg chg="addSp delSp modSp add del mod ord">
        <pc:chgData name="Ettore Minelli" userId="7870a1ad-01cf-4239-8cce-750deae7f4ef" providerId="ADAL" clId="{97863174-A4D6-40FC-87CB-EB217C5B4254}" dt="2022-10-05T16:52:59.293" v="3274" actId="47"/>
        <pc:sldMkLst>
          <pc:docMk/>
          <pc:sldMk cId="2430150727" sldId="1513"/>
        </pc:sldMkLst>
        <pc:picChg chg="add del">
          <ac:chgData name="Ettore Minelli" userId="7870a1ad-01cf-4239-8cce-750deae7f4ef" providerId="ADAL" clId="{97863174-A4D6-40FC-87CB-EB217C5B4254}" dt="2022-10-05T16:03:35.038" v="2499" actId="21"/>
          <ac:picMkLst>
            <pc:docMk/>
            <pc:sldMk cId="2430150727" sldId="1513"/>
            <ac:picMk id="4" creationId="{C49FB555-2712-456C-BC1C-7CC13F297219}"/>
          </ac:picMkLst>
        </pc:picChg>
        <pc:picChg chg="add del">
          <ac:chgData name="Ettore Minelli" userId="7870a1ad-01cf-4239-8cce-750deae7f4ef" providerId="ADAL" clId="{97863174-A4D6-40FC-87CB-EB217C5B4254}" dt="2022-10-05T16:03:31.587" v="2497" actId="21"/>
          <ac:picMkLst>
            <pc:docMk/>
            <pc:sldMk cId="2430150727" sldId="1513"/>
            <ac:picMk id="7" creationId="{4249932A-947D-47AD-ADDD-F695F3DA5847}"/>
          </ac:picMkLst>
        </pc:picChg>
        <pc:picChg chg="add del mod">
          <ac:chgData name="Ettore Minelli" userId="7870a1ad-01cf-4239-8cce-750deae7f4ef" providerId="ADAL" clId="{97863174-A4D6-40FC-87CB-EB217C5B4254}" dt="2022-10-05T16:03:27.654" v="2495" actId="21"/>
          <ac:picMkLst>
            <pc:docMk/>
            <pc:sldMk cId="2430150727" sldId="1513"/>
            <ac:picMk id="9" creationId="{CEB30D40-F4F1-4365-B459-33D248E8F94F}"/>
          </ac:picMkLst>
        </pc:picChg>
      </pc:sldChg>
      <pc:sldChg chg="addSp modSp add del mod">
        <pc:chgData name="Ettore Minelli" userId="7870a1ad-01cf-4239-8cce-750deae7f4ef" providerId="ADAL" clId="{97863174-A4D6-40FC-87CB-EB217C5B4254}" dt="2022-10-05T16:53:00.326" v="3275" actId="47"/>
        <pc:sldMkLst>
          <pc:docMk/>
          <pc:sldMk cId="4268616161" sldId="1560"/>
        </pc:sldMkLst>
        <pc:picChg chg="add mod ord">
          <ac:chgData name="Ettore Minelli" userId="7870a1ad-01cf-4239-8cce-750deae7f4ef" providerId="ADAL" clId="{97863174-A4D6-40FC-87CB-EB217C5B4254}" dt="2022-10-05T16:03:44.171" v="2504" actId="166"/>
          <ac:picMkLst>
            <pc:docMk/>
            <pc:sldMk cId="4268616161" sldId="1560"/>
            <ac:picMk id="7" creationId="{170A6582-DDDE-46B7-B4CE-932B95EC731E}"/>
          </ac:picMkLst>
        </pc:picChg>
        <pc:picChg chg="add mod">
          <ac:chgData name="Ettore Minelli" userId="7870a1ad-01cf-4239-8cce-750deae7f4ef" providerId="ADAL" clId="{97863174-A4D6-40FC-87CB-EB217C5B4254}" dt="2022-10-05T16:03:39.819" v="2502" actId="1076"/>
          <ac:picMkLst>
            <pc:docMk/>
            <pc:sldMk cId="4268616161" sldId="1560"/>
            <ac:picMk id="8" creationId="{23E64E49-E987-44F4-9845-CFB5CCEB6B57}"/>
          </ac:picMkLst>
        </pc:picChg>
        <pc:picChg chg="add mod">
          <ac:chgData name="Ettore Minelli" userId="7870a1ad-01cf-4239-8cce-750deae7f4ef" providerId="ADAL" clId="{97863174-A4D6-40FC-87CB-EB217C5B4254}" dt="2022-10-05T16:03:39.218" v="2501" actId="1076"/>
          <ac:picMkLst>
            <pc:docMk/>
            <pc:sldMk cId="4268616161" sldId="1560"/>
            <ac:picMk id="9" creationId="{DB56A89F-3077-4A57-9EC2-04B9E3383F02}"/>
          </ac:picMkLst>
        </pc:picChg>
      </pc:sldChg>
      <pc:sldChg chg="delSp modSp add del mod ord">
        <pc:chgData name="Ettore Minelli" userId="7870a1ad-01cf-4239-8cce-750deae7f4ef" providerId="ADAL" clId="{97863174-A4D6-40FC-87CB-EB217C5B4254}" dt="2022-10-05T16:52:16.153" v="3269" actId="47"/>
        <pc:sldMkLst>
          <pc:docMk/>
          <pc:sldMk cId="3685595733" sldId="1881838634"/>
        </pc:sldMkLst>
        <pc:spChg chg="mod topLvl">
          <ac:chgData name="Ettore Minelli" userId="7870a1ad-01cf-4239-8cce-750deae7f4ef" providerId="ADAL" clId="{97863174-A4D6-40FC-87CB-EB217C5B4254}" dt="2022-10-05T12:44:55.633" v="888" actId="165"/>
          <ac:spMkLst>
            <pc:docMk/>
            <pc:sldMk cId="3685595733" sldId="1881838634"/>
            <ac:spMk id="18" creationId="{1ACBBDAA-0C38-47D9-BE65-96B5C587303B}"/>
          </ac:spMkLst>
        </pc:spChg>
        <pc:spChg chg="mod topLvl">
          <ac:chgData name="Ettore Minelli" userId="7870a1ad-01cf-4239-8cce-750deae7f4ef" providerId="ADAL" clId="{97863174-A4D6-40FC-87CB-EB217C5B4254}" dt="2022-10-05T12:44:55.633" v="888" actId="165"/>
          <ac:spMkLst>
            <pc:docMk/>
            <pc:sldMk cId="3685595733" sldId="1881838634"/>
            <ac:spMk id="19" creationId="{F0558CF3-9A2D-448A-AC4C-A14AB39F5D1F}"/>
          </ac:spMkLst>
        </pc:spChg>
        <pc:spChg chg="mod topLvl">
          <ac:chgData name="Ettore Minelli" userId="7870a1ad-01cf-4239-8cce-750deae7f4ef" providerId="ADAL" clId="{97863174-A4D6-40FC-87CB-EB217C5B4254}" dt="2022-10-05T12:44:55.633" v="888" actId="165"/>
          <ac:spMkLst>
            <pc:docMk/>
            <pc:sldMk cId="3685595733" sldId="1881838634"/>
            <ac:spMk id="20" creationId="{0BCE82F4-F748-46D9-AFD5-2AE1162C44C7}"/>
          </ac:spMkLst>
        </pc:spChg>
        <pc:spChg chg="mod topLvl">
          <ac:chgData name="Ettore Minelli" userId="7870a1ad-01cf-4239-8cce-750deae7f4ef" providerId="ADAL" clId="{97863174-A4D6-40FC-87CB-EB217C5B4254}" dt="2022-10-05T12:44:55.633" v="888" actId="165"/>
          <ac:spMkLst>
            <pc:docMk/>
            <pc:sldMk cId="3685595733" sldId="1881838634"/>
            <ac:spMk id="21" creationId="{1111E25E-ADDA-4DE7-947E-2C76DB493EAD}"/>
          </ac:spMkLst>
        </pc:spChg>
        <pc:spChg chg="del">
          <ac:chgData name="Ettore Minelli" userId="7870a1ad-01cf-4239-8cce-750deae7f4ef" providerId="ADAL" clId="{97863174-A4D6-40FC-87CB-EB217C5B4254}" dt="2022-10-05T12:44:35.983" v="885" actId="478"/>
          <ac:spMkLst>
            <pc:docMk/>
            <pc:sldMk cId="3685595733" sldId="1881838634"/>
            <ac:spMk id="30" creationId="{CC424C5B-C8E7-475C-9E4C-AAD93AEA72C5}"/>
          </ac:spMkLst>
        </pc:spChg>
        <pc:spChg chg="mod topLvl">
          <ac:chgData name="Ettore Minelli" userId="7870a1ad-01cf-4239-8cce-750deae7f4ef" providerId="ADAL" clId="{97863174-A4D6-40FC-87CB-EB217C5B4254}" dt="2022-10-05T12:44:55.633" v="888" actId="165"/>
          <ac:spMkLst>
            <pc:docMk/>
            <pc:sldMk cId="3685595733" sldId="1881838634"/>
            <ac:spMk id="31" creationId="{077912FE-B017-4899-B200-3FF444AFB736}"/>
          </ac:spMkLst>
        </pc:spChg>
        <pc:spChg chg="mod topLvl">
          <ac:chgData name="Ettore Minelli" userId="7870a1ad-01cf-4239-8cce-750deae7f4ef" providerId="ADAL" clId="{97863174-A4D6-40FC-87CB-EB217C5B4254}" dt="2022-10-05T12:44:55.633" v="888" actId="165"/>
          <ac:spMkLst>
            <pc:docMk/>
            <pc:sldMk cId="3685595733" sldId="1881838634"/>
            <ac:spMk id="32" creationId="{2F34D660-2EC5-4576-B216-492CF347FE6E}"/>
          </ac:spMkLst>
        </pc:spChg>
        <pc:spChg chg="mod topLvl">
          <ac:chgData name="Ettore Minelli" userId="7870a1ad-01cf-4239-8cce-750deae7f4ef" providerId="ADAL" clId="{97863174-A4D6-40FC-87CB-EB217C5B4254}" dt="2022-10-05T12:44:55.633" v="888" actId="165"/>
          <ac:spMkLst>
            <pc:docMk/>
            <pc:sldMk cId="3685595733" sldId="1881838634"/>
            <ac:spMk id="33" creationId="{93283F7F-6FF3-41F9-B0BB-4F798E9BA43A}"/>
          </ac:spMkLst>
        </pc:spChg>
        <pc:spChg chg="mod topLvl">
          <ac:chgData name="Ettore Minelli" userId="7870a1ad-01cf-4239-8cce-750deae7f4ef" providerId="ADAL" clId="{97863174-A4D6-40FC-87CB-EB217C5B4254}" dt="2022-10-05T12:44:55.633" v="888" actId="165"/>
          <ac:spMkLst>
            <pc:docMk/>
            <pc:sldMk cId="3685595733" sldId="1881838634"/>
            <ac:spMk id="34" creationId="{2876BA9D-2EAD-49D9-983F-E03A921B8811}"/>
          </ac:spMkLst>
        </pc:spChg>
        <pc:spChg chg="mod topLvl">
          <ac:chgData name="Ettore Minelli" userId="7870a1ad-01cf-4239-8cce-750deae7f4ef" providerId="ADAL" clId="{97863174-A4D6-40FC-87CB-EB217C5B4254}" dt="2022-10-05T12:44:55.633" v="888" actId="165"/>
          <ac:spMkLst>
            <pc:docMk/>
            <pc:sldMk cId="3685595733" sldId="1881838634"/>
            <ac:spMk id="95" creationId="{B8DA4639-7AC6-4B89-B666-70F3786F83E9}"/>
          </ac:spMkLst>
        </pc:spChg>
        <pc:spChg chg="mod topLvl">
          <ac:chgData name="Ettore Minelli" userId="7870a1ad-01cf-4239-8cce-750deae7f4ef" providerId="ADAL" clId="{97863174-A4D6-40FC-87CB-EB217C5B4254}" dt="2022-10-05T12:44:55.633" v="888" actId="165"/>
          <ac:spMkLst>
            <pc:docMk/>
            <pc:sldMk cId="3685595733" sldId="1881838634"/>
            <ac:spMk id="96" creationId="{7C84731D-1C69-4AEA-B7B0-4A3656DB2D3D}"/>
          </ac:spMkLst>
        </pc:spChg>
        <pc:spChg chg="mod topLvl">
          <ac:chgData name="Ettore Minelli" userId="7870a1ad-01cf-4239-8cce-750deae7f4ef" providerId="ADAL" clId="{97863174-A4D6-40FC-87CB-EB217C5B4254}" dt="2022-10-05T12:44:55.633" v="888" actId="165"/>
          <ac:spMkLst>
            <pc:docMk/>
            <pc:sldMk cId="3685595733" sldId="1881838634"/>
            <ac:spMk id="123" creationId="{F9C4FDB4-883A-4564-8134-ED4E4E2D1A66}"/>
          </ac:spMkLst>
        </pc:spChg>
        <pc:spChg chg="mod topLvl">
          <ac:chgData name="Ettore Minelli" userId="7870a1ad-01cf-4239-8cce-750deae7f4ef" providerId="ADAL" clId="{97863174-A4D6-40FC-87CB-EB217C5B4254}" dt="2022-10-05T12:44:55.633" v="888" actId="165"/>
          <ac:spMkLst>
            <pc:docMk/>
            <pc:sldMk cId="3685595733" sldId="1881838634"/>
            <ac:spMk id="124" creationId="{4969109E-B328-4EF6-8DCA-77A5175CFB98}"/>
          </ac:spMkLst>
        </pc:spChg>
        <pc:grpChg chg="del">
          <ac:chgData name="Ettore Minelli" userId="7870a1ad-01cf-4239-8cce-750deae7f4ef" providerId="ADAL" clId="{97863174-A4D6-40FC-87CB-EB217C5B4254}" dt="2022-10-05T12:44:55.633" v="888" actId="165"/>
          <ac:grpSpMkLst>
            <pc:docMk/>
            <pc:sldMk cId="3685595733" sldId="1881838634"/>
            <ac:grpSpMk id="15" creationId="{9346034C-8542-4959-8F62-6E0B9EFF0416}"/>
          </ac:grpSpMkLst>
        </pc:grpChg>
        <pc:grpChg chg="del mod">
          <ac:chgData name="Ettore Minelli" userId="7870a1ad-01cf-4239-8cce-750deae7f4ef" providerId="ADAL" clId="{97863174-A4D6-40FC-87CB-EB217C5B4254}" dt="2022-10-05T12:44:55.633" v="888" actId="165"/>
          <ac:grpSpMkLst>
            <pc:docMk/>
            <pc:sldMk cId="3685595733" sldId="1881838634"/>
            <ac:grpSpMk id="17" creationId="{D483FE00-F6B2-49FC-B998-11C9CA14E314}"/>
          </ac:grpSpMkLst>
        </pc:grpChg>
        <pc:grpChg chg="del">
          <ac:chgData name="Ettore Minelli" userId="7870a1ad-01cf-4239-8cce-750deae7f4ef" providerId="ADAL" clId="{97863174-A4D6-40FC-87CB-EB217C5B4254}" dt="2022-10-05T12:44:55.633" v="888" actId="165"/>
          <ac:grpSpMkLst>
            <pc:docMk/>
            <pc:sldMk cId="3685595733" sldId="1881838634"/>
            <ac:grpSpMk id="22" creationId="{ACE968E2-61F6-4177-A08E-07D6E7E0C6E2}"/>
          </ac:grpSpMkLst>
        </pc:grpChg>
        <pc:grpChg chg="del">
          <ac:chgData name="Ettore Minelli" userId="7870a1ad-01cf-4239-8cce-750deae7f4ef" providerId="ADAL" clId="{97863174-A4D6-40FC-87CB-EB217C5B4254}" dt="2022-10-05T12:44:55.633" v="888" actId="165"/>
          <ac:grpSpMkLst>
            <pc:docMk/>
            <pc:sldMk cId="3685595733" sldId="1881838634"/>
            <ac:grpSpMk id="23" creationId="{9ABDB212-EBF9-4CC9-82FA-5D404A9D3A66}"/>
          </ac:grpSpMkLst>
        </pc:grpChg>
        <pc:grpChg chg="del">
          <ac:chgData name="Ettore Minelli" userId="7870a1ad-01cf-4239-8cce-750deae7f4ef" providerId="ADAL" clId="{97863174-A4D6-40FC-87CB-EB217C5B4254}" dt="2022-10-05T12:44:55.633" v="888" actId="165"/>
          <ac:grpSpMkLst>
            <pc:docMk/>
            <pc:sldMk cId="3685595733" sldId="1881838634"/>
            <ac:grpSpMk id="24" creationId="{C2CB9B9B-2420-4805-8AE0-B56D71D67FC1}"/>
          </ac:grpSpMkLst>
        </pc:grpChg>
        <pc:grpChg chg="del">
          <ac:chgData name="Ettore Minelli" userId="7870a1ad-01cf-4239-8cce-750deae7f4ef" providerId="ADAL" clId="{97863174-A4D6-40FC-87CB-EB217C5B4254}" dt="2022-10-05T12:44:55.633" v="888" actId="165"/>
          <ac:grpSpMkLst>
            <pc:docMk/>
            <pc:sldMk cId="3685595733" sldId="1881838634"/>
            <ac:grpSpMk id="151" creationId="{63396C08-D2F1-470C-8C71-6582B3B34F4C}"/>
          </ac:grpSpMkLst>
        </pc:grpChg>
        <pc:cxnChg chg="mod">
          <ac:chgData name="Ettore Minelli" userId="7870a1ad-01cf-4239-8cce-750deae7f4ef" providerId="ADAL" clId="{97863174-A4D6-40FC-87CB-EB217C5B4254}" dt="2022-10-05T12:41:32.857" v="864" actId="1076"/>
          <ac:cxnSpMkLst>
            <pc:docMk/>
            <pc:sldMk cId="3685595733" sldId="1881838634"/>
            <ac:cxnSpMk id="6" creationId="{52B7278A-851A-44FB-8C49-5D7EF72C71CB}"/>
          </ac:cxnSpMkLst>
        </pc:cxnChg>
        <pc:cxnChg chg="mod topLvl">
          <ac:chgData name="Ettore Minelli" userId="7870a1ad-01cf-4239-8cce-750deae7f4ef" providerId="ADAL" clId="{97863174-A4D6-40FC-87CB-EB217C5B4254}" dt="2022-10-05T12:44:55.633" v="888" actId="165"/>
          <ac:cxnSpMkLst>
            <pc:docMk/>
            <pc:sldMk cId="3685595733" sldId="1881838634"/>
            <ac:cxnSpMk id="16" creationId="{59A0C614-D321-4BF0-87D8-890BDD251372}"/>
          </ac:cxnSpMkLst>
        </pc:cxnChg>
        <pc:cxnChg chg="mod topLvl">
          <ac:chgData name="Ettore Minelli" userId="7870a1ad-01cf-4239-8cce-750deae7f4ef" providerId="ADAL" clId="{97863174-A4D6-40FC-87CB-EB217C5B4254}" dt="2022-10-05T12:44:55.633" v="888" actId="165"/>
          <ac:cxnSpMkLst>
            <pc:docMk/>
            <pc:sldMk cId="3685595733" sldId="1881838634"/>
            <ac:cxnSpMk id="27" creationId="{85EAC5D3-6A8C-424C-838D-BEAB981562CC}"/>
          </ac:cxnSpMkLst>
        </pc:cxnChg>
        <pc:cxnChg chg="mod topLvl">
          <ac:chgData name="Ettore Minelli" userId="7870a1ad-01cf-4239-8cce-750deae7f4ef" providerId="ADAL" clId="{97863174-A4D6-40FC-87CB-EB217C5B4254}" dt="2022-10-05T12:44:55.633" v="888" actId="165"/>
          <ac:cxnSpMkLst>
            <pc:docMk/>
            <pc:sldMk cId="3685595733" sldId="1881838634"/>
            <ac:cxnSpMk id="28" creationId="{3437E0CF-27FB-4A66-83E8-1AABB9A0A5C8}"/>
          </ac:cxnSpMkLst>
        </pc:cxnChg>
        <pc:cxnChg chg="mod topLvl">
          <ac:chgData name="Ettore Minelli" userId="7870a1ad-01cf-4239-8cce-750deae7f4ef" providerId="ADAL" clId="{97863174-A4D6-40FC-87CB-EB217C5B4254}" dt="2022-10-05T12:44:55.633" v="888" actId="165"/>
          <ac:cxnSpMkLst>
            <pc:docMk/>
            <pc:sldMk cId="3685595733" sldId="1881838634"/>
            <ac:cxnSpMk id="29" creationId="{C0CB3E69-9043-4FB9-92B9-77A9CEC8D313}"/>
          </ac:cxnSpMkLst>
        </pc:cxnChg>
      </pc:sldChg>
      <pc:sldChg chg="addSp delSp modSp add del mod">
        <pc:chgData name="Ettore Minelli" userId="7870a1ad-01cf-4239-8cce-750deae7f4ef" providerId="ADAL" clId="{97863174-A4D6-40FC-87CB-EB217C5B4254}" dt="2022-10-05T16:53:01.498" v="3276" actId="47"/>
        <pc:sldMkLst>
          <pc:docMk/>
          <pc:sldMk cId="1814677024" sldId="1881838635"/>
        </pc:sldMkLst>
        <pc:spChg chg="mod">
          <ac:chgData name="Ettore Minelli" userId="7870a1ad-01cf-4239-8cce-750deae7f4ef" providerId="ADAL" clId="{97863174-A4D6-40FC-87CB-EB217C5B4254}" dt="2022-10-04T16:33:15.626" v="316" actId="20577"/>
          <ac:spMkLst>
            <pc:docMk/>
            <pc:sldMk cId="1814677024" sldId="1881838635"/>
            <ac:spMk id="2" creationId="{87A4E177-908D-403C-85A7-D808653C1A8F}"/>
          </ac:spMkLst>
        </pc:spChg>
        <pc:spChg chg="mod">
          <ac:chgData name="Ettore Minelli" userId="7870a1ad-01cf-4239-8cce-750deae7f4ef" providerId="ADAL" clId="{97863174-A4D6-40FC-87CB-EB217C5B4254}" dt="2022-10-04T16:31:10.825" v="284" actId="20577"/>
          <ac:spMkLst>
            <pc:docMk/>
            <pc:sldMk cId="1814677024" sldId="1881838635"/>
            <ac:spMk id="22" creationId="{80CDE037-0580-4F71-A58C-FD65A88A0C6E}"/>
          </ac:spMkLst>
        </pc:spChg>
        <pc:spChg chg="mod">
          <ac:chgData name="Ettore Minelli" userId="7870a1ad-01cf-4239-8cce-750deae7f4ef" providerId="ADAL" clId="{97863174-A4D6-40FC-87CB-EB217C5B4254}" dt="2022-10-04T16:31:43.960" v="304" actId="12788"/>
          <ac:spMkLst>
            <pc:docMk/>
            <pc:sldMk cId="1814677024" sldId="1881838635"/>
            <ac:spMk id="31" creationId="{C49B49A9-8E0E-4C3A-9E7A-CA1E488DA396}"/>
          </ac:spMkLst>
        </pc:spChg>
        <pc:spChg chg="mod">
          <ac:chgData name="Ettore Minelli" userId="7870a1ad-01cf-4239-8cce-750deae7f4ef" providerId="ADAL" clId="{97863174-A4D6-40FC-87CB-EB217C5B4254}" dt="2022-10-04T16:31:52.531" v="305" actId="12788"/>
          <ac:spMkLst>
            <pc:docMk/>
            <pc:sldMk cId="1814677024" sldId="1881838635"/>
            <ac:spMk id="32" creationId="{1C3EE43B-87FF-4ED3-B4FF-89519CFA6E39}"/>
          </ac:spMkLst>
        </pc:spChg>
        <pc:spChg chg="del">
          <ac:chgData name="Ettore Minelli" userId="7870a1ad-01cf-4239-8cce-750deae7f4ef" providerId="ADAL" clId="{97863174-A4D6-40FC-87CB-EB217C5B4254}" dt="2022-10-04T16:37:53.177" v="420" actId="478"/>
          <ac:spMkLst>
            <pc:docMk/>
            <pc:sldMk cId="1814677024" sldId="1881838635"/>
            <ac:spMk id="33" creationId="{9D8BA50F-7247-4CD9-BA90-5C6B1ED204F5}"/>
          </ac:spMkLst>
        </pc:spChg>
        <pc:spChg chg="mod">
          <ac:chgData name="Ettore Minelli" userId="7870a1ad-01cf-4239-8cce-750deae7f4ef" providerId="ADAL" clId="{97863174-A4D6-40FC-87CB-EB217C5B4254}" dt="2022-10-04T16:34:51.844" v="333" actId="1076"/>
          <ac:spMkLst>
            <pc:docMk/>
            <pc:sldMk cId="1814677024" sldId="1881838635"/>
            <ac:spMk id="34" creationId="{08E3510A-37BA-4AE3-A6E5-C65B21A34C40}"/>
          </ac:spMkLst>
        </pc:spChg>
        <pc:spChg chg="del">
          <ac:chgData name="Ettore Minelli" userId="7870a1ad-01cf-4239-8cce-750deae7f4ef" providerId="ADAL" clId="{97863174-A4D6-40FC-87CB-EB217C5B4254}" dt="2022-10-04T16:35:58.094" v="409" actId="478"/>
          <ac:spMkLst>
            <pc:docMk/>
            <pc:sldMk cId="1814677024" sldId="1881838635"/>
            <ac:spMk id="35" creationId="{F8E22117-4F82-48F7-B9DA-88B914C8F350}"/>
          </ac:spMkLst>
        </pc:spChg>
        <pc:spChg chg="del">
          <ac:chgData name="Ettore Minelli" userId="7870a1ad-01cf-4239-8cce-750deae7f4ef" providerId="ADAL" clId="{97863174-A4D6-40FC-87CB-EB217C5B4254}" dt="2022-10-04T16:35:58.094" v="409" actId="478"/>
          <ac:spMkLst>
            <pc:docMk/>
            <pc:sldMk cId="1814677024" sldId="1881838635"/>
            <ac:spMk id="36" creationId="{9514CE28-F757-41CD-BD7A-B8C121156840}"/>
          </ac:spMkLst>
        </pc:spChg>
        <pc:spChg chg="del">
          <ac:chgData name="Ettore Minelli" userId="7870a1ad-01cf-4239-8cce-750deae7f4ef" providerId="ADAL" clId="{97863174-A4D6-40FC-87CB-EB217C5B4254}" dt="2022-10-04T16:35:58.094" v="409" actId="478"/>
          <ac:spMkLst>
            <pc:docMk/>
            <pc:sldMk cId="1814677024" sldId="1881838635"/>
            <ac:spMk id="38" creationId="{436863F2-4B0A-44C9-B74C-B02095CB74F1}"/>
          </ac:spMkLst>
        </pc:spChg>
        <pc:spChg chg="mod">
          <ac:chgData name="Ettore Minelli" userId="7870a1ad-01cf-4239-8cce-750deae7f4ef" providerId="ADAL" clId="{97863174-A4D6-40FC-87CB-EB217C5B4254}" dt="2022-10-04T16:35:47.813" v="408" actId="1076"/>
          <ac:spMkLst>
            <pc:docMk/>
            <pc:sldMk cId="1814677024" sldId="1881838635"/>
            <ac:spMk id="39" creationId="{994B1F3E-A62F-47CB-9B2A-9CC61B5CA1B1}"/>
          </ac:spMkLst>
        </pc:spChg>
        <pc:spChg chg="del">
          <ac:chgData name="Ettore Minelli" userId="7870a1ad-01cf-4239-8cce-750deae7f4ef" providerId="ADAL" clId="{97863174-A4D6-40FC-87CB-EB217C5B4254}" dt="2022-10-04T16:35:58.094" v="409" actId="478"/>
          <ac:spMkLst>
            <pc:docMk/>
            <pc:sldMk cId="1814677024" sldId="1881838635"/>
            <ac:spMk id="41" creationId="{DDB46039-D116-45A2-AFD4-167D46787F67}"/>
          </ac:spMkLst>
        </pc:spChg>
        <pc:spChg chg="del">
          <ac:chgData name="Ettore Minelli" userId="7870a1ad-01cf-4239-8cce-750deae7f4ef" providerId="ADAL" clId="{97863174-A4D6-40FC-87CB-EB217C5B4254}" dt="2022-10-04T16:35:58.094" v="409" actId="478"/>
          <ac:spMkLst>
            <pc:docMk/>
            <pc:sldMk cId="1814677024" sldId="1881838635"/>
            <ac:spMk id="42" creationId="{662C5182-9A61-4274-B7C8-EA5AA0E0F61C}"/>
          </ac:spMkLst>
        </pc:spChg>
        <pc:spChg chg="mod">
          <ac:chgData name="Ettore Minelli" userId="7870a1ad-01cf-4239-8cce-750deae7f4ef" providerId="ADAL" clId="{97863174-A4D6-40FC-87CB-EB217C5B4254}" dt="2022-10-04T16:35:20.813" v="404" actId="1076"/>
          <ac:spMkLst>
            <pc:docMk/>
            <pc:sldMk cId="1814677024" sldId="1881838635"/>
            <ac:spMk id="44" creationId="{52F969D9-53F2-47A2-94B2-77151B7812D2}"/>
          </ac:spMkLst>
        </pc:spChg>
        <pc:spChg chg="del">
          <ac:chgData name="Ettore Minelli" userId="7870a1ad-01cf-4239-8cce-750deae7f4ef" providerId="ADAL" clId="{97863174-A4D6-40FC-87CB-EB217C5B4254}" dt="2022-10-04T16:35:58.094" v="409" actId="478"/>
          <ac:spMkLst>
            <pc:docMk/>
            <pc:sldMk cId="1814677024" sldId="1881838635"/>
            <ac:spMk id="45" creationId="{68367274-AD1C-4205-9236-71CD11956096}"/>
          </ac:spMkLst>
        </pc:spChg>
        <pc:spChg chg="del mod">
          <ac:chgData name="Ettore Minelli" userId="7870a1ad-01cf-4239-8cce-750deae7f4ef" providerId="ADAL" clId="{97863174-A4D6-40FC-87CB-EB217C5B4254}" dt="2022-10-04T16:35:59.911" v="411" actId="478"/>
          <ac:spMkLst>
            <pc:docMk/>
            <pc:sldMk cId="1814677024" sldId="1881838635"/>
            <ac:spMk id="47" creationId="{F9EA21AB-64A0-4935-A1E4-D513B358D1E1}"/>
          </ac:spMkLst>
        </pc:spChg>
        <pc:spChg chg="del">
          <ac:chgData name="Ettore Minelli" userId="7870a1ad-01cf-4239-8cce-750deae7f4ef" providerId="ADAL" clId="{97863174-A4D6-40FC-87CB-EB217C5B4254}" dt="2022-10-04T16:35:58.094" v="409" actId="478"/>
          <ac:spMkLst>
            <pc:docMk/>
            <pc:sldMk cId="1814677024" sldId="1881838635"/>
            <ac:spMk id="48" creationId="{B98CEA45-4A8B-4602-B873-6436810D660D}"/>
          </ac:spMkLst>
        </pc:spChg>
        <pc:spChg chg="del">
          <ac:chgData name="Ettore Minelli" userId="7870a1ad-01cf-4239-8cce-750deae7f4ef" providerId="ADAL" clId="{97863174-A4D6-40FC-87CB-EB217C5B4254}" dt="2022-10-04T16:35:58.094" v="409" actId="478"/>
          <ac:spMkLst>
            <pc:docMk/>
            <pc:sldMk cId="1814677024" sldId="1881838635"/>
            <ac:spMk id="49" creationId="{8866EEF2-EC25-49B5-B646-B176BD536616}"/>
          </ac:spMkLst>
        </pc:spChg>
        <pc:spChg chg="del">
          <ac:chgData name="Ettore Minelli" userId="7870a1ad-01cf-4239-8cce-750deae7f4ef" providerId="ADAL" clId="{97863174-A4D6-40FC-87CB-EB217C5B4254}" dt="2022-10-04T16:35:58.094" v="409" actId="478"/>
          <ac:spMkLst>
            <pc:docMk/>
            <pc:sldMk cId="1814677024" sldId="1881838635"/>
            <ac:spMk id="50" creationId="{AC168B4A-2919-4672-903C-495E2DC077FB}"/>
          </ac:spMkLst>
        </pc:spChg>
        <pc:spChg chg="del">
          <ac:chgData name="Ettore Minelli" userId="7870a1ad-01cf-4239-8cce-750deae7f4ef" providerId="ADAL" clId="{97863174-A4D6-40FC-87CB-EB217C5B4254}" dt="2022-10-04T16:35:58.094" v="409" actId="478"/>
          <ac:spMkLst>
            <pc:docMk/>
            <pc:sldMk cId="1814677024" sldId="1881838635"/>
            <ac:spMk id="51" creationId="{33DD6413-7488-4506-A475-A9069378B1F3}"/>
          </ac:spMkLst>
        </pc:spChg>
        <pc:spChg chg="mod">
          <ac:chgData name="Ettore Minelli" userId="7870a1ad-01cf-4239-8cce-750deae7f4ef" providerId="ADAL" clId="{97863174-A4D6-40FC-87CB-EB217C5B4254}" dt="2022-10-04T16:13:44.614" v="11" actId="13926"/>
          <ac:spMkLst>
            <pc:docMk/>
            <pc:sldMk cId="1814677024" sldId="1881838635"/>
            <ac:spMk id="65" creationId="{790F5D72-0B56-48FC-A3DE-3DB77A5F3919}"/>
          </ac:spMkLst>
        </pc:spChg>
        <pc:spChg chg="mod">
          <ac:chgData name="Ettore Minelli" userId="7870a1ad-01cf-4239-8cce-750deae7f4ef" providerId="ADAL" clId="{97863174-A4D6-40FC-87CB-EB217C5B4254}" dt="2022-10-04T16:13:44.614" v="11" actId="13926"/>
          <ac:spMkLst>
            <pc:docMk/>
            <pc:sldMk cId="1814677024" sldId="1881838635"/>
            <ac:spMk id="67" creationId="{2143D6DE-9AF8-4AEB-B646-DC3D70298C45}"/>
          </ac:spMkLst>
        </pc:spChg>
        <pc:spChg chg="mod">
          <ac:chgData name="Ettore Minelli" userId="7870a1ad-01cf-4239-8cce-750deae7f4ef" providerId="ADAL" clId="{97863174-A4D6-40FC-87CB-EB217C5B4254}" dt="2022-10-04T16:13:44.614" v="11" actId="13926"/>
          <ac:spMkLst>
            <pc:docMk/>
            <pc:sldMk cId="1814677024" sldId="1881838635"/>
            <ac:spMk id="69" creationId="{A89E4283-139A-4E05-B4DD-8BC9DA76A74C}"/>
          </ac:spMkLst>
        </pc:spChg>
        <pc:spChg chg="mod">
          <ac:chgData name="Ettore Minelli" userId="7870a1ad-01cf-4239-8cce-750deae7f4ef" providerId="ADAL" clId="{97863174-A4D6-40FC-87CB-EB217C5B4254}" dt="2022-10-04T16:13:44.614" v="11" actId="13926"/>
          <ac:spMkLst>
            <pc:docMk/>
            <pc:sldMk cId="1814677024" sldId="1881838635"/>
            <ac:spMk id="71" creationId="{81E6164D-46D3-48D9-87A7-3AF7DB13F268}"/>
          </ac:spMkLst>
        </pc:spChg>
        <pc:spChg chg="mod">
          <ac:chgData name="Ettore Minelli" userId="7870a1ad-01cf-4239-8cce-750deae7f4ef" providerId="ADAL" clId="{97863174-A4D6-40FC-87CB-EB217C5B4254}" dt="2022-10-04T16:13:44.614" v="11" actId="13926"/>
          <ac:spMkLst>
            <pc:docMk/>
            <pc:sldMk cId="1814677024" sldId="1881838635"/>
            <ac:spMk id="73" creationId="{51CD8385-50FA-4FE1-9F40-727E07F51973}"/>
          </ac:spMkLst>
        </pc:spChg>
        <pc:spChg chg="mod">
          <ac:chgData name="Ettore Minelli" userId="7870a1ad-01cf-4239-8cce-750deae7f4ef" providerId="ADAL" clId="{97863174-A4D6-40FC-87CB-EB217C5B4254}" dt="2022-10-04T16:13:44.614" v="11" actId="13926"/>
          <ac:spMkLst>
            <pc:docMk/>
            <pc:sldMk cId="1814677024" sldId="1881838635"/>
            <ac:spMk id="75" creationId="{6613FE72-2B92-4295-AD0E-BE7AFDAB9470}"/>
          </ac:spMkLst>
        </pc:spChg>
        <pc:spChg chg="add del mod">
          <ac:chgData name="Ettore Minelli" userId="7870a1ad-01cf-4239-8cce-750deae7f4ef" providerId="ADAL" clId="{97863174-A4D6-40FC-87CB-EB217C5B4254}" dt="2022-10-04T16:37:56.245" v="422" actId="478"/>
          <ac:spMkLst>
            <pc:docMk/>
            <pc:sldMk cId="1814677024" sldId="1881838635"/>
            <ac:spMk id="77" creationId="{D6DC1A0A-B416-44AC-A94C-181B76DA9351}"/>
          </ac:spMkLst>
        </pc:spChg>
        <pc:spChg chg="add mod">
          <ac:chgData name="Ettore Minelli" userId="7870a1ad-01cf-4239-8cce-750deae7f4ef" providerId="ADAL" clId="{97863174-A4D6-40FC-87CB-EB217C5B4254}" dt="2022-10-04T16:36:22.916" v="413" actId="1076"/>
          <ac:spMkLst>
            <pc:docMk/>
            <pc:sldMk cId="1814677024" sldId="1881838635"/>
            <ac:spMk id="79" creationId="{E63B55A8-6BE4-4DA8-BD8C-B76C5A05DC37}"/>
          </ac:spMkLst>
        </pc:spChg>
        <pc:spChg chg="add mod">
          <ac:chgData name="Ettore Minelli" userId="7870a1ad-01cf-4239-8cce-750deae7f4ef" providerId="ADAL" clId="{97863174-A4D6-40FC-87CB-EB217C5B4254}" dt="2022-10-04T16:36:22.916" v="413" actId="1076"/>
          <ac:spMkLst>
            <pc:docMk/>
            <pc:sldMk cId="1814677024" sldId="1881838635"/>
            <ac:spMk id="80" creationId="{F0527BC3-9105-40B2-BBE2-2F0049B42335}"/>
          </ac:spMkLst>
        </pc:spChg>
        <pc:spChg chg="add mod">
          <ac:chgData name="Ettore Minelli" userId="7870a1ad-01cf-4239-8cce-750deae7f4ef" providerId="ADAL" clId="{97863174-A4D6-40FC-87CB-EB217C5B4254}" dt="2022-10-04T16:36:22.916" v="413" actId="1076"/>
          <ac:spMkLst>
            <pc:docMk/>
            <pc:sldMk cId="1814677024" sldId="1881838635"/>
            <ac:spMk id="81" creationId="{A291965E-6BEA-401B-90C0-F8DCDBCB1D67}"/>
          </ac:spMkLst>
        </pc:spChg>
        <pc:spChg chg="add del mod">
          <ac:chgData name="Ettore Minelli" userId="7870a1ad-01cf-4239-8cce-750deae7f4ef" providerId="ADAL" clId="{97863174-A4D6-40FC-87CB-EB217C5B4254}" dt="2022-10-04T16:38:00.798" v="423" actId="478"/>
          <ac:spMkLst>
            <pc:docMk/>
            <pc:sldMk cId="1814677024" sldId="1881838635"/>
            <ac:spMk id="83" creationId="{8FA2D647-3A6A-4F3D-9E6D-6F864EF3D081}"/>
          </ac:spMkLst>
        </pc:spChg>
        <pc:spChg chg="add mod">
          <ac:chgData name="Ettore Minelli" userId="7870a1ad-01cf-4239-8cce-750deae7f4ef" providerId="ADAL" clId="{97863174-A4D6-40FC-87CB-EB217C5B4254}" dt="2022-10-04T16:36:47.071" v="415" actId="1076"/>
          <ac:spMkLst>
            <pc:docMk/>
            <pc:sldMk cId="1814677024" sldId="1881838635"/>
            <ac:spMk id="84" creationId="{253B13BC-6893-4CEF-B38F-81E9F4600941}"/>
          </ac:spMkLst>
        </pc:spChg>
        <pc:spChg chg="add mod">
          <ac:chgData name="Ettore Minelli" userId="7870a1ad-01cf-4239-8cce-750deae7f4ef" providerId="ADAL" clId="{97863174-A4D6-40FC-87CB-EB217C5B4254}" dt="2022-10-04T16:36:47.071" v="415" actId="1076"/>
          <ac:spMkLst>
            <pc:docMk/>
            <pc:sldMk cId="1814677024" sldId="1881838635"/>
            <ac:spMk id="85" creationId="{8275EA28-ECA7-4401-BFFA-17C6AC242E1C}"/>
          </ac:spMkLst>
        </pc:spChg>
        <pc:spChg chg="add mod">
          <ac:chgData name="Ettore Minelli" userId="7870a1ad-01cf-4239-8cce-750deae7f4ef" providerId="ADAL" clId="{97863174-A4D6-40FC-87CB-EB217C5B4254}" dt="2022-10-04T16:36:47.071" v="415" actId="1076"/>
          <ac:spMkLst>
            <pc:docMk/>
            <pc:sldMk cId="1814677024" sldId="1881838635"/>
            <ac:spMk id="86" creationId="{400899D1-5FB7-427B-802E-E7434C54AFE2}"/>
          </ac:spMkLst>
        </pc:spChg>
        <pc:spChg chg="add del mod">
          <ac:chgData name="Ettore Minelli" userId="7870a1ad-01cf-4239-8cce-750deae7f4ef" providerId="ADAL" clId="{97863174-A4D6-40FC-87CB-EB217C5B4254}" dt="2022-10-04T16:37:02.597" v="418" actId="478"/>
          <ac:spMkLst>
            <pc:docMk/>
            <pc:sldMk cId="1814677024" sldId="1881838635"/>
            <ac:spMk id="88" creationId="{C15726F9-563B-40FD-AC49-4F170DAEA180}"/>
          </ac:spMkLst>
        </pc:spChg>
        <pc:spChg chg="add del mod">
          <ac:chgData name="Ettore Minelli" userId="7870a1ad-01cf-4239-8cce-750deae7f4ef" providerId="ADAL" clId="{97863174-A4D6-40FC-87CB-EB217C5B4254}" dt="2022-10-04T16:38:02.578" v="424" actId="478"/>
          <ac:spMkLst>
            <pc:docMk/>
            <pc:sldMk cId="1814677024" sldId="1881838635"/>
            <ac:spMk id="89" creationId="{BD2A2600-9308-471D-9809-454642F5CDCD}"/>
          </ac:spMkLst>
        </pc:spChg>
        <pc:spChg chg="add mod">
          <ac:chgData name="Ettore Minelli" userId="7870a1ad-01cf-4239-8cce-750deae7f4ef" providerId="ADAL" clId="{97863174-A4D6-40FC-87CB-EB217C5B4254}" dt="2022-10-04T16:37:30.038" v="419" actId="1076"/>
          <ac:spMkLst>
            <pc:docMk/>
            <pc:sldMk cId="1814677024" sldId="1881838635"/>
            <ac:spMk id="90" creationId="{3DDA3112-FDEC-48F4-8A69-8356EC24C93B}"/>
          </ac:spMkLst>
        </pc:spChg>
        <pc:spChg chg="add mod">
          <ac:chgData name="Ettore Minelli" userId="7870a1ad-01cf-4239-8cce-750deae7f4ef" providerId="ADAL" clId="{97863174-A4D6-40FC-87CB-EB217C5B4254}" dt="2022-10-04T16:37:30.038" v="419" actId="1076"/>
          <ac:spMkLst>
            <pc:docMk/>
            <pc:sldMk cId="1814677024" sldId="1881838635"/>
            <ac:spMk id="91" creationId="{B7998F42-0D3A-4A33-8FB9-3277982B973C}"/>
          </ac:spMkLst>
        </pc:spChg>
        <pc:spChg chg="add mod">
          <ac:chgData name="Ettore Minelli" userId="7870a1ad-01cf-4239-8cce-750deae7f4ef" providerId="ADAL" clId="{97863174-A4D6-40FC-87CB-EB217C5B4254}" dt="2022-10-04T16:37:30.038" v="419" actId="1076"/>
          <ac:spMkLst>
            <pc:docMk/>
            <pc:sldMk cId="1814677024" sldId="1881838635"/>
            <ac:spMk id="92" creationId="{3484EDE0-2EE7-4782-8FF5-E2580E8DAF2B}"/>
          </ac:spMkLst>
        </pc:spChg>
        <pc:picChg chg="add del">
          <ac:chgData name="Ettore Minelli" userId="7870a1ad-01cf-4239-8cce-750deae7f4ef" providerId="ADAL" clId="{97863174-A4D6-40FC-87CB-EB217C5B4254}" dt="2022-10-04T16:34:00.876" v="320" actId="478"/>
          <ac:picMkLst>
            <pc:docMk/>
            <pc:sldMk cId="1814677024" sldId="1881838635"/>
            <ac:picMk id="28" creationId="{212522CB-412F-4504-9846-5D3C56B986E9}"/>
          </ac:picMkLst>
        </pc:picChg>
        <pc:picChg chg="del">
          <ac:chgData name="Ettore Minelli" userId="7870a1ad-01cf-4239-8cce-750deae7f4ef" providerId="ADAL" clId="{97863174-A4D6-40FC-87CB-EB217C5B4254}" dt="2022-10-04T16:35:58.094" v="409" actId="478"/>
          <ac:picMkLst>
            <pc:docMk/>
            <pc:sldMk cId="1814677024" sldId="1881838635"/>
            <ac:picMk id="29" creationId="{1F1ADA25-D14E-446F-8436-D9E4DBC0C111}"/>
          </ac:picMkLst>
        </pc:picChg>
        <pc:picChg chg="del">
          <ac:chgData name="Ettore Minelli" userId="7870a1ad-01cf-4239-8cce-750deae7f4ef" providerId="ADAL" clId="{97863174-A4D6-40FC-87CB-EB217C5B4254}" dt="2022-10-04T16:35:58.094" v="409" actId="478"/>
          <ac:picMkLst>
            <pc:docMk/>
            <pc:sldMk cId="1814677024" sldId="1881838635"/>
            <ac:picMk id="37" creationId="{85697EC0-F026-4C26-884A-4FE43B5BEDC8}"/>
          </ac:picMkLst>
        </pc:picChg>
        <pc:picChg chg="del">
          <ac:chgData name="Ettore Minelli" userId="7870a1ad-01cf-4239-8cce-750deae7f4ef" providerId="ADAL" clId="{97863174-A4D6-40FC-87CB-EB217C5B4254}" dt="2022-10-04T16:35:58.094" v="409" actId="478"/>
          <ac:picMkLst>
            <pc:docMk/>
            <pc:sldMk cId="1814677024" sldId="1881838635"/>
            <ac:picMk id="43" creationId="{EEF5A5ED-8FED-4C71-92EC-46B50482DE87}"/>
          </ac:picMkLst>
        </pc:picChg>
        <pc:picChg chg="mod">
          <ac:chgData name="Ettore Minelli" userId="7870a1ad-01cf-4239-8cce-750deae7f4ef" providerId="ADAL" clId="{97863174-A4D6-40FC-87CB-EB217C5B4254}" dt="2022-10-04T16:13:50.591" v="12" actId="207"/>
          <ac:picMkLst>
            <pc:docMk/>
            <pc:sldMk cId="1814677024" sldId="1881838635"/>
            <ac:picMk id="66" creationId="{2C496392-0E88-465E-B839-561203FE2B69}"/>
          </ac:picMkLst>
        </pc:picChg>
        <pc:picChg chg="add mod">
          <ac:chgData name="Ettore Minelli" userId="7870a1ad-01cf-4239-8cce-750deae7f4ef" providerId="ADAL" clId="{97863174-A4D6-40FC-87CB-EB217C5B4254}" dt="2022-10-04T16:36:22.916" v="413" actId="1076"/>
          <ac:picMkLst>
            <pc:docMk/>
            <pc:sldMk cId="1814677024" sldId="1881838635"/>
            <ac:picMk id="82" creationId="{0D3F6CE4-3242-49D2-BF62-8E041E0EBBB8}"/>
          </ac:picMkLst>
        </pc:picChg>
        <pc:picChg chg="add mod">
          <ac:chgData name="Ettore Minelli" userId="7870a1ad-01cf-4239-8cce-750deae7f4ef" providerId="ADAL" clId="{97863174-A4D6-40FC-87CB-EB217C5B4254}" dt="2022-10-04T16:36:47.071" v="415" actId="1076"/>
          <ac:picMkLst>
            <pc:docMk/>
            <pc:sldMk cId="1814677024" sldId="1881838635"/>
            <ac:picMk id="87" creationId="{39E982E9-0B78-43A8-BAF0-9D2E732B9CA3}"/>
          </ac:picMkLst>
        </pc:picChg>
        <pc:picChg chg="add mod">
          <ac:chgData name="Ettore Minelli" userId="7870a1ad-01cf-4239-8cce-750deae7f4ef" providerId="ADAL" clId="{97863174-A4D6-40FC-87CB-EB217C5B4254}" dt="2022-10-04T16:37:30.038" v="419" actId="1076"/>
          <ac:picMkLst>
            <pc:docMk/>
            <pc:sldMk cId="1814677024" sldId="1881838635"/>
            <ac:picMk id="93" creationId="{46CC19B2-E649-4B15-AD34-DBFCE800BC66}"/>
          </ac:picMkLst>
        </pc:picChg>
      </pc:sldChg>
      <pc:sldChg chg="add del">
        <pc:chgData name="Ettore Minelli" userId="7870a1ad-01cf-4239-8cce-750deae7f4ef" providerId="ADAL" clId="{97863174-A4D6-40FC-87CB-EB217C5B4254}" dt="2022-10-05T16:53:02.385" v="3277" actId="47"/>
        <pc:sldMkLst>
          <pc:docMk/>
          <pc:sldMk cId="2256400387" sldId="1881838636"/>
        </pc:sldMkLst>
      </pc:sldChg>
      <pc:sldChg chg="addSp delSp modSp add del mod">
        <pc:chgData name="Ettore Minelli" userId="7870a1ad-01cf-4239-8cce-750deae7f4ef" providerId="ADAL" clId="{97863174-A4D6-40FC-87CB-EB217C5B4254}" dt="2022-10-05T16:52:14.819" v="3268" actId="47"/>
        <pc:sldMkLst>
          <pc:docMk/>
          <pc:sldMk cId="1469557162" sldId="1881838637"/>
        </pc:sldMkLst>
        <pc:spChg chg="mod">
          <ac:chgData name="Ettore Minelli" userId="7870a1ad-01cf-4239-8cce-750deae7f4ef" providerId="ADAL" clId="{97863174-A4D6-40FC-87CB-EB217C5B4254}" dt="2022-10-04T16:44:01.663" v="751" actId="20577"/>
          <ac:spMkLst>
            <pc:docMk/>
            <pc:sldMk cId="1469557162" sldId="1881838637"/>
            <ac:spMk id="2" creationId="{87A4E177-908D-403C-85A7-D808653C1A8F}"/>
          </ac:spMkLst>
        </pc:spChg>
        <pc:spChg chg="mod">
          <ac:chgData name="Ettore Minelli" userId="7870a1ad-01cf-4239-8cce-750deae7f4ef" providerId="ADAL" clId="{97863174-A4D6-40FC-87CB-EB217C5B4254}" dt="2022-10-04T16:44:50.050" v="756" actId="113"/>
          <ac:spMkLst>
            <pc:docMk/>
            <pc:sldMk cId="1469557162" sldId="1881838637"/>
            <ac:spMk id="11" creationId="{C211554B-15CA-4A36-A3CA-8B48D07D7E9D}"/>
          </ac:spMkLst>
        </pc:spChg>
        <pc:spChg chg="mod topLvl">
          <ac:chgData name="Ettore Minelli" userId="7870a1ad-01cf-4239-8cce-750deae7f4ef" providerId="ADAL" clId="{97863174-A4D6-40FC-87CB-EB217C5B4254}" dt="2022-10-04T16:39:39.738" v="451" actId="12"/>
          <ac:spMkLst>
            <pc:docMk/>
            <pc:sldMk cId="1469557162" sldId="1881838637"/>
            <ac:spMk id="18" creationId="{1ACBBDAA-0C38-47D9-BE65-96B5C587303B}"/>
          </ac:spMkLst>
        </pc:spChg>
        <pc:spChg chg="mod topLvl">
          <ac:chgData name="Ettore Minelli" userId="7870a1ad-01cf-4239-8cce-750deae7f4ef" providerId="ADAL" clId="{97863174-A4D6-40FC-87CB-EB217C5B4254}" dt="2022-10-04T16:52:25.099" v="846" actId="20577"/>
          <ac:spMkLst>
            <pc:docMk/>
            <pc:sldMk cId="1469557162" sldId="1881838637"/>
            <ac:spMk id="19" creationId="{F0558CF3-9A2D-448A-AC4C-A14AB39F5D1F}"/>
          </ac:spMkLst>
        </pc:spChg>
        <pc:spChg chg="del mod topLvl">
          <ac:chgData name="Ettore Minelli" userId="7870a1ad-01cf-4239-8cce-750deae7f4ef" providerId="ADAL" clId="{97863174-A4D6-40FC-87CB-EB217C5B4254}" dt="2022-10-04T16:49:30.110" v="820" actId="478"/>
          <ac:spMkLst>
            <pc:docMk/>
            <pc:sldMk cId="1469557162" sldId="1881838637"/>
            <ac:spMk id="20" creationId="{0BCE82F4-F748-46D9-AFD5-2AE1162C44C7}"/>
          </ac:spMkLst>
        </pc:spChg>
        <pc:spChg chg="mod topLvl">
          <ac:chgData name="Ettore Minelli" userId="7870a1ad-01cf-4239-8cce-750deae7f4ef" providerId="ADAL" clId="{97863174-A4D6-40FC-87CB-EB217C5B4254}" dt="2022-10-04T16:39:39.738" v="451" actId="12"/>
          <ac:spMkLst>
            <pc:docMk/>
            <pc:sldMk cId="1469557162" sldId="1881838637"/>
            <ac:spMk id="21" creationId="{1111E25E-ADDA-4DE7-947E-2C76DB493EAD}"/>
          </ac:spMkLst>
        </pc:spChg>
        <pc:spChg chg="mod">
          <ac:chgData name="Ettore Minelli" userId="7870a1ad-01cf-4239-8cce-750deae7f4ef" providerId="ADAL" clId="{97863174-A4D6-40FC-87CB-EB217C5B4254}" dt="2022-10-04T16:39:07.455" v="442" actId="1076"/>
          <ac:spMkLst>
            <pc:docMk/>
            <pc:sldMk cId="1469557162" sldId="1881838637"/>
            <ac:spMk id="30" creationId="{CC424C5B-C8E7-475C-9E4C-AAD93AEA72C5}"/>
          </ac:spMkLst>
        </pc:spChg>
        <pc:spChg chg="mod topLvl">
          <ac:chgData name="Ettore Minelli" userId="7870a1ad-01cf-4239-8cce-750deae7f4ef" providerId="ADAL" clId="{97863174-A4D6-40FC-87CB-EB217C5B4254}" dt="2022-10-04T16:51:32.700" v="828" actId="1076"/>
          <ac:spMkLst>
            <pc:docMk/>
            <pc:sldMk cId="1469557162" sldId="1881838637"/>
            <ac:spMk id="31" creationId="{077912FE-B017-4899-B200-3FF444AFB736}"/>
          </ac:spMkLst>
        </pc:spChg>
        <pc:spChg chg="mod topLvl">
          <ac:chgData name="Ettore Minelli" userId="7870a1ad-01cf-4239-8cce-750deae7f4ef" providerId="ADAL" clId="{97863174-A4D6-40FC-87CB-EB217C5B4254}" dt="2022-10-04T16:39:24.717" v="445" actId="164"/>
          <ac:spMkLst>
            <pc:docMk/>
            <pc:sldMk cId="1469557162" sldId="1881838637"/>
            <ac:spMk id="32" creationId="{2F34D660-2EC5-4576-B216-492CF347FE6E}"/>
          </ac:spMkLst>
        </pc:spChg>
        <pc:spChg chg="mod topLvl">
          <ac:chgData name="Ettore Minelli" userId="7870a1ad-01cf-4239-8cce-750deae7f4ef" providerId="ADAL" clId="{97863174-A4D6-40FC-87CB-EB217C5B4254}" dt="2022-10-04T16:39:24.717" v="445" actId="164"/>
          <ac:spMkLst>
            <pc:docMk/>
            <pc:sldMk cId="1469557162" sldId="1881838637"/>
            <ac:spMk id="33" creationId="{93283F7F-6FF3-41F9-B0BB-4F798E9BA43A}"/>
          </ac:spMkLst>
        </pc:spChg>
        <pc:spChg chg="mod topLvl">
          <ac:chgData name="Ettore Minelli" userId="7870a1ad-01cf-4239-8cce-750deae7f4ef" providerId="ADAL" clId="{97863174-A4D6-40FC-87CB-EB217C5B4254}" dt="2022-10-04T16:39:24.717" v="445" actId="164"/>
          <ac:spMkLst>
            <pc:docMk/>
            <pc:sldMk cId="1469557162" sldId="1881838637"/>
            <ac:spMk id="34" creationId="{2876BA9D-2EAD-49D9-983F-E03A921B8811}"/>
          </ac:spMkLst>
        </pc:spChg>
        <pc:spChg chg="del">
          <ac:chgData name="Ettore Minelli" userId="7870a1ad-01cf-4239-8cce-750deae7f4ef" providerId="ADAL" clId="{97863174-A4D6-40FC-87CB-EB217C5B4254}" dt="2022-10-04T16:38:49.790" v="427" actId="478"/>
          <ac:spMkLst>
            <pc:docMk/>
            <pc:sldMk cId="1469557162" sldId="1881838637"/>
            <ac:spMk id="35" creationId="{1C5AEE32-2A20-4797-BF2A-C68A2129AF98}"/>
          </ac:spMkLst>
        </pc:spChg>
        <pc:spChg chg="del">
          <ac:chgData name="Ettore Minelli" userId="7870a1ad-01cf-4239-8cce-750deae7f4ef" providerId="ADAL" clId="{97863174-A4D6-40FC-87CB-EB217C5B4254}" dt="2022-10-04T16:38:47.008" v="426" actId="478"/>
          <ac:spMkLst>
            <pc:docMk/>
            <pc:sldMk cId="1469557162" sldId="1881838637"/>
            <ac:spMk id="37" creationId="{2D13F8CC-B1BC-4548-9AF2-468B4F1F82BF}"/>
          </ac:spMkLst>
        </pc:spChg>
        <pc:spChg chg="mod">
          <ac:chgData name="Ettore Minelli" userId="7870a1ad-01cf-4239-8cce-750deae7f4ef" providerId="ADAL" clId="{97863174-A4D6-40FC-87CB-EB217C5B4254}" dt="2022-10-04T16:45:55.390" v="812" actId="14100"/>
          <ac:spMkLst>
            <pc:docMk/>
            <pc:sldMk cId="1469557162" sldId="1881838637"/>
            <ac:spMk id="53" creationId="{17BBF805-9A47-4353-B0C5-D7338F256A1F}"/>
          </ac:spMkLst>
        </pc:spChg>
        <pc:spChg chg="del">
          <ac:chgData name="Ettore Minelli" userId="7870a1ad-01cf-4239-8cce-750deae7f4ef" providerId="ADAL" clId="{97863174-A4D6-40FC-87CB-EB217C5B4254}" dt="2022-10-04T16:38:47.008" v="426" actId="478"/>
          <ac:spMkLst>
            <pc:docMk/>
            <pc:sldMk cId="1469557162" sldId="1881838637"/>
            <ac:spMk id="64" creationId="{FA8EB222-DC69-42C5-83E0-9D7E7B0BB740}"/>
          </ac:spMkLst>
        </pc:spChg>
        <pc:spChg chg="del">
          <ac:chgData name="Ettore Minelli" userId="7870a1ad-01cf-4239-8cce-750deae7f4ef" providerId="ADAL" clId="{97863174-A4D6-40FC-87CB-EB217C5B4254}" dt="2022-10-04T16:38:47.008" v="426" actId="478"/>
          <ac:spMkLst>
            <pc:docMk/>
            <pc:sldMk cId="1469557162" sldId="1881838637"/>
            <ac:spMk id="66" creationId="{BC72E6FB-B2D2-46D6-9536-8B32B3E21990}"/>
          </ac:spMkLst>
        </pc:spChg>
        <pc:spChg chg="del">
          <ac:chgData name="Ettore Minelli" userId="7870a1ad-01cf-4239-8cce-750deae7f4ef" providerId="ADAL" clId="{97863174-A4D6-40FC-87CB-EB217C5B4254}" dt="2022-10-04T16:38:47.008" v="426" actId="478"/>
          <ac:spMkLst>
            <pc:docMk/>
            <pc:sldMk cId="1469557162" sldId="1881838637"/>
            <ac:spMk id="67" creationId="{14C41927-920A-4A70-9EB9-2483444D8B2E}"/>
          </ac:spMkLst>
        </pc:spChg>
        <pc:spChg chg="del">
          <ac:chgData name="Ettore Minelli" userId="7870a1ad-01cf-4239-8cce-750deae7f4ef" providerId="ADAL" clId="{97863174-A4D6-40FC-87CB-EB217C5B4254}" dt="2022-10-04T16:38:47.008" v="426" actId="478"/>
          <ac:spMkLst>
            <pc:docMk/>
            <pc:sldMk cId="1469557162" sldId="1881838637"/>
            <ac:spMk id="68" creationId="{756BC19A-08EB-4224-83D0-B31CF01174E4}"/>
          </ac:spMkLst>
        </pc:spChg>
        <pc:spChg chg="add mod">
          <ac:chgData name="Ettore Minelli" userId="7870a1ad-01cf-4239-8cce-750deae7f4ef" providerId="ADAL" clId="{97863174-A4D6-40FC-87CB-EB217C5B4254}" dt="2022-10-04T16:39:44.057" v="452" actId="571"/>
          <ac:spMkLst>
            <pc:docMk/>
            <pc:sldMk cId="1469557162" sldId="1881838637"/>
            <ac:spMk id="69" creationId="{0A26BA43-CCD4-466C-BC02-E42A8092E4DA}"/>
          </ac:spMkLst>
        </pc:spChg>
        <pc:spChg chg="add mod">
          <ac:chgData name="Ettore Minelli" userId="7870a1ad-01cf-4239-8cce-750deae7f4ef" providerId="ADAL" clId="{97863174-A4D6-40FC-87CB-EB217C5B4254}" dt="2022-10-04T16:40:05.342" v="455" actId="571"/>
          <ac:spMkLst>
            <pc:docMk/>
            <pc:sldMk cId="1469557162" sldId="1881838637"/>
            <ac:spMk id="71" creationId="{EB186B41-FA79-49FE-9EEC-4F9177A09CB7}"/>
          </ac:spMkLst>
        </pc:spChg>
        <pc:spChg chg="del">
          <ac:chgData name="Ettore Minelli" userId="7870a1ad-01cf-4239-8cce-750deae7f4ef" providerId="ADAL" clId="{97863174-A4D6-40FC-87CB-EB217C5B4254}" dt="2022-10-04T16:38:47.008" v="426" actId="478"/>
          <ac:spMkLst>
            <pc:docMk/>
            <pc:sldMk cId="1469557162" sldId="1881838637"/>
            <ac:spMk id="92" creationId="{C9ABDAFD-B81D-47FB-BA52-A8CAD9CC64E5}"/>
          </ac:spMkLst>
        </pc:spChg>
        <pc:spChg chg="del">
          <ac:chgData name="Ettore Minelli" userId="7870a1ad-01cf-4239-8cce-750deae7f4ef" providerId="ADAL" clId="{97863174-A4D6-40FC-87CB-EB217C5B4254}" dt="2022-10-04T16:38:47.008" v="426" actId="478"/>
          <ac:spMkLst>
            <pc:docMk/>
            <pc:sldMk cId="1469557162" sldId="1881838637"/>
            <ac:spMk id="94" creationId="{17313A93-2900-4ACD-8CCF-A9EA0A74DBF9}"/>
          </ac:spMkLst>
        </pc:spChg>
        <pc:spChg chg="del">
          <ac:chgData name="Ettore Minelli" userId="7870a1ad-01cf-4239-8cce-750deae7f4ef" providerId="ADAL" clId="{97863174-A4D6-40FC-87CB-EB217C5B4254}" dt="2022-10-04T16:38:47.008" v="426" actId="478"/>
          <ac:spMkLst>
            <pc:docMk/>
            <pc:sldMk cId="1469557162" sldId="1881838637"/>
            <ac:spMk id="120" creationId="{7DB7C856-74EE-464D-9FBD-76E6493145C0}"/>
          </ac:spMkLst>
        </pc:spChg>
        <pc:spChg chg="del">
          <ac:chgData name="Ettore Minelli" userId="7870a1ad-01cf-4239-8cce-750deae7f4ef" providerId="ADAL" clId="{97863174-A4D6-40FC-87CB-EB217C5B4254}" dt="2022-10-04T16:38:47.008" v="426" actId="478"/>
          <ac:spMkLst>
            <pc:docMk/>
            <pc:sldMk cId="1469557162" sldId="1881838637"/>
            <ac:spMk id="122" creationId="{4941B799-53FF-429D-A5B0-39565C633575}"/>
          </ac:spMkLst>
        </pc:spChg>
        <pc:spChg chg="del">
          <ac:chgData name="Ettore Minelli" userId="7870a1ad-01cf-4239-8cce-750deae7f4ef" providerId="ADAL" clId="{97863174-A4D6-40FC-87CB-EB217C5B4254}" dt="2022-10-04T16:38:47.008" v="426" actId="478"/>
          <ac:spMkLst>
            <pc:docMk/>
            <pc:sldMk cId="1469557162" sldId="1881838637"/>
            <ac:spMk id="148" creationId="{0F1BEC4B-DAB9-4D1F-8352-9AA4F74E5A5A}"/>
          </ac:spMkLst>
        </pc:spChg>
        <pc:spChg chg="del">
          <ac:chgData name="Ettore Minelli" userId="7870a1ad-01cf-4239-8cce-750deae7f4ef" providerId="ADAL" clId="{97863174-A4D6-40FC-87CB-EB217C5B4254}" dt="2022-10-04T16:38:47.008" v="426" actId="478"/>
          <ac:spMkLst>
            <pc:docMk/>
            <pc:sldMk cId="1469557162" sldId="1881838637"/>
            <ac:spMk id="156" creationId="{5F1B6E9F-5EC0-46FD-983B-FB4F37C52DB1}"/>
          </ac:spMkLst>
        </pc:spChg>
        <pc:spChg chg="mod">
          <ac:chgData name="Ettore Minelli" userId="7870a1ad-01cf-4239-8cce-750deae7f4ef" providerId="ADAL" clId="{97863174-A4D6-40FC-87CB-EB217C5B4254}" dt="2022-10-04T16:45:20.064" v="795" actId="20577"/>
          <ac:spMkLst>
            <pc:docMk/>
            <pc:sldMk cId="1469557162" sldId="1881838637"/>
            <ac:spMk id="157" creationId="{4105501C-BB6D-4318-BFD2-16EB63DE8BA1}"/>
          </ac:spMkLst>
        </pc:spChg>
        <pc:grpChg chg="add mod">
          <ac:chgData name="Ettore Minelli" userId="7870a1ad-01cf-4239-8cce-750deae7f4ef" providerId="ADAL" clId="{97863174-A4D6-40FC-87CB-EB217C5B4254}" dt="2022-10-04T16:39:26.910" v="446" actId="14100"/>
          <ac:grpSpMkLst>
            <pc:docMk/>
            <pc:sldMk cId="1469557162" sldId="1881838637"/>
            <ac:grpSpMk id="5" creationId="{97F0AE8D-1212-4888-8219-E4EED7EB73EB}"/>
          </ac:grpSpMkLst>
        </pc:grpChg>
        <pc:grpChg chg="del mod">
          <ac:chgData name="Ettore Minelli" userId="7870a1ad-01cf-4239-8cce-750deae7f4ef" providerId="ADAL" clId="{97863174-A4D6-40FC-87CB-EB217C5B4254}" dt="2022-10-04T16:39:11.328" v="443" actId="165"/>
          <ac:grpSpMkLst>
            <pc:docMk/>
            <pc:sldMk cId="1469557162" sldId="1881838637"/>
            <ac:grpSpMk id="15" creationId="{9346034C-8542-4959-8F62-6E0B9EFF0416}"/>
          </ac:grpSpMkLst>
        </pc:grpChg>
        <pc:grpChg chg="del mod">
          <ac:chgData name="Ettore Minelli" userId="7870a1ad-01cf-4239-8cce-750deae7f4ef" providerId="ADAL" clId="{97863174-A4D6-40FC-87CB-EB217C5B4254}" dt="2022-10-04T16:39:11.328" v="443" actId="165"/>
          <ac:grpSpMkLst>
            <pc:docMk/>
            <pc:sldMk cId="1469557162" sldId="1881838637"/>
            <ac:grpSpMk id="17" creationId="{D483FE00-F6B2-49FC-B998-11C9CA14E314}"/>
          </ac:grpSpMkLst>
        </pc:grpChg>
        <pc:grpChg chg="del mod">
          <ac:chgData name="Ettore Minelli" userId="7870a1ad-01cf-4239-8cce-750deae7f4ef" providerId="ADAL" clId="{97863174-A4D6-40FC-87CB-EB217C5B4254}" dt="2022-10-04T16:39:11.328" v="443" actId="165"/>
          <ac:grpSpMkLst>
            <pc:docMk/>
            <pc:sldMk cId="1469557162" sldId="1881838637"/>
            <ac:grpSpMk id="22" creationId="{ACE968E2-61F6-4177-A08E-07D6E7E0C6E2}"/>
          </ac:grpSpMkLst>
        </pc:grpChg>
        <pc:grpChg chg="del mod">
          <ac:chgData name="Ettore Minelli" userId="7870a1ad-01cf-4239-8cce-750deae7f4ef" providerId="ADAL" clId="{97863174-A4D6-40FC-87CB-EB217C5B4254}" dt="2022-10-04T16:39:11.328" v="443" actId="165"/>
          <ac:grpSpMkLst>
            <pc:docMk/>
            <pc:sldMk cId="1469557162" sldId="1881838637"/>
            <ac:grpSpMk id="23" creationId="{9ABDB212-EBF9-4CC9-82FA-5D404A9D3A66}"/>
          </ac:grpSpMkLst>
        </pc:grpChg>
        <pc:grpChg chg="del">
          <ac:chgData name="Ettore Minelli" userId="7870a1ad-01cf-4239-8cce-750deae7f4ef" providerId="ADAL" clId="{97863174-A4D6-40FC-87CB-EB217C5B4254}" dt="2022-10-04T16:38:47.008" v="426" actId="478"/>
          <ac:grpSpMkLst>
            <pc:docMk/>
            <pc:sldMk cId="1469557162" sldId="1881838637"/>
            <ac:grpSpMk id="24" creationId="{C2CB9B9B-2420-4805-8AE0-B56D71D67FC1}"/>
          </ac:grpSpMkLst>
        </pc:grpChg>
        <pc:grpChg chg="del">
          <ac:chgData name="Ettore Minelli" userId="7870a1ad-01cf-4239-8cce-750deae7f4ef" providerId="ADAL" clId="{97863174-A4D6-40FC-87CB-EB217C5B4254}" dt="2022-10-04T16:38:47.008" v="426" actId="478"/>
          <ac:grpSpMkLst>
            <pc:docMk/>
            <pc:sldMk cId="1469557162" sldId="1881838637"/>
            <ac:grpSpMk id="149" creationId="{AB78C77D-DCE9-4E6A-ACAC-486CC2E57622}"/>
          </ac:grpSpMkLst>
        </pc:grpChg>
        <pc:grpChg chg="del">
          <ac:chgData name="Ettore Minelli" userId="7870a1ad-01cf-4239-8cce-750deae7f4ef" providerId="ADAL" clId="{97863174-A4D6-40FC-87CB-EB217C5B4254}" dt="2022-10-04T16:38:47.008" v="426" actId="478"/>
          <ac:grpSpMkLst>
            <pc:docMk/>
            <pc:sldMk cId="1469557162" sldId="1881838637"/>
            <ac:grpSpMk id="151" creationId="{63396C08-D2F1-470C-8C71-6582B3B34F4C}"/>
          </ac:grpSpMkLst>
        </pc:grpChg>
        <pc:picChg chg="del">
          <ac:chgData name="Ettore Minelli" userId="7870a1ad-01cf-4239-8cce-750deae7f4ef" providerId="ADAL" clId="{97863174-A4D6-40FC-87CB-EB217C5B4254}" dt="2022-10-04T16:38:47.008" v="426" actId="478"/>
          <ac:picMkLst>
            <pc:docMk/>
            <pc:sldMk cId="1469557162" sldId="1881838637"/>
            <ac:picMk id="7" creationId="{1B007D11-10E8-42E6-9E77-037793E129F0}"/>
          </ac:picMkLst>
        </pc:picChg>
        <pc:picChg chg="del">
          <ac:chgData name="Ettore Minelli" userId="7870a1ad-01cf-4239-8cce-750deae7f4ef" providerId="ADAL" clId="{97863174-A4D6-40FC-87CB-EB217C5B4254}" dt="2022-10-04T16:38:47.008" v="426" actId="478"/>
          <ac:picMkLst>
            <pc:docMk/>
            <pc:sldMk cId="1469557162" sldId="1881838637"/>
            <ac:picMk id="8" creationId="{972A4E91-08CE-40BA-833B-7B72F7B98CF0}"/>
          </ac:picMkLst>
        </pc:picChg>
        <pc:picChg chg="del">
          <ac:chgData name="Ettore Minelli" userId="7870a1ad-01cf-4239-8cce-750deae7f4ef" providerId="ADAL" clId="{97863174-A4D6-40FC-87CB-EB217C5B4254}" dt="2022-10-04T16:38:47.008" v="426" actId="478"/>
          <ac:picMkLst>
            <pc:docMk/>
            <pc:sldMk cId="1469557162" sldId="1881838637"/>
            <ac:picMk id="9" creationId="{C55DE443-1550-464C-A643-D2C23B3FC262}"/>
          </ac:picMkLst>
        </pc:picChg>
        <pc:picChg chg="del">
          <ac:chgData name="Ettore Minelli" userId="7870a1ad-01cf-4239-8cce-750deae7f4ef" providerId="ADAL" clId="{97863174-A4D6-40FC-87CB-EB217C5B4254}" dt="2022-10-04T16:38:47.008" v="426" actId="478"/>
          <ac:picMkLst>
            <pc:docMk/>
            <pc:sldMk cId="1469557162" sldId="1881838637"/>
            <ac:picMk id="12" creationId="{46DD497F-6BF1-40F0-9F36-4C391B4C175C}"/>
          </ac:picMkLst>
        </pc:picChg>
        <pc:picChg chg="add mod">
          <ac:chgData name="Ettore Minelli" userId="7870a1ad-01cf-4239-8cce-750deae7f4ef" providerId="ADAL" clId="{97863174-A4D6-40FC-87CB-EB217C5B4254}" dt="2022-10-04T16:51:41.500" v="830" actId="1076"/>
          <ac:picMkLst>
            <pc:docMk/>
            <pc:sldMk cId="1469557162" sldId="1881838637"/>
            <ac:picMk id="72" creationId="{F381B4FF-5763-47BC-83A6-311EDB30A77B}"/>
          </ac:picMkLst>
        </pc:picChg>
        <pc:cxnChg chg="mod">
          <ac:chgData name="Ettore Minelli" userId="7870a1ad-01cf-4239-8cce-750deae7f4ef" providerId="ADAL" clId="{97863174-A4D6-40FC-87CB-EB217C5B4254}" dt="2022-10-04T16:39:24.717" v="445" actId="164"/>
          <ac:cxnSpMkLst>
            <pc:docMk/>
            <pc:sldMk cId="1469557162" sldId="1881838637"/>
            <ac:cxnSpMk id="6" creationId="{52B7278A-851A-44FB-8C49-5D7EF72C71CB}"/>
          </ac:cxnSpMkLst>
        </pc:cxnChg>
        <pc:cxnChg chg="mod topLvl">
          <ac:chgData name="Ettore Minelli" userId="7870a1ad-01cf-4239-8cce-750deae7f4ef" providerId="ADAL" clId="{97863174-A4D6-40FC-87CB-EB217C5B4254}" dt="2022-10-04T16:39:24.717" v="445" actId="164"/>
          <ac:cxnSpMkLst>
            <pc:docMk/>
            <pc:sldMk cId="1469557162" sldId="1881838637"/>
            <ac:cxnSpMk id="16" creationId="{59A0C614-D321-4BF0-87D8-890BDD251372}"/>
          </ac:cxnSpMkLst>
        </pc:cxnChg>
        <pc:cxnChg chg="mod topLvl">
          <ac:chgData name="Ettore Minelli" userId="7870a1ad-01cf-4239-8cce-750deae7f4ef" providerId="ADAL" clId="{97863174-A4D6-40FC-87CB-EB217C5B4254}" dt="2022-10-04T16:39:24.717" v="445" actId="164"/>
          <ac:cxnSpMkLst>
            <pc:docMk/>
            <pc:sldMk cId="1469557162" sldId="1881838637"/>
            <ac:cxnSpMk id="27" creationId="{85EAC5D3-6A8C-424C-838D-BEAB981562CC}"/>
          </ac:cxnSpMkLst>
        </pc:cxnChg>
        <pc:cxnChg chg="mod topLvl">
          <ac:chgData name="Ettore Minelli" userId="7870a1ad-01cf-4239-8cce-750deae7f4ef" providerId="ADAL" clId="{97863174-A4D6-40FC-87CB-EB217C5B4254}" dt="2022-10-04T16:39:24.717" v="445" actId="164"/>
          <ac:cxnSpMkLst>
            <pc:docMk/>
            <pc:sldMk cId="1469557162" sldId="1881838637"/>
            <ac:cxnSpMk id="28" creationId="{3437E0CF-27FB-4A66-83E8-1AABB9A0A5C8}"/>
          </ac:cxnSpMkLst>
        </pc:cxnChg>
        <pc:cxnChg chg="mod topLvl">
          <ac:chgData name="Ettore Minelli" userId="7870a1ad-01cf-4239-8cce-750deae7f4ef" providerId="ADAL" clId="{97863174-A4D6-40FC-87CB-EB217C5B4254}" dt="2022-10-04T16:39:24.717" v="445" actId="164"/>
          <ac:cxnSpMkLst>
            <pc:docMk/>
            <pc:sldMk cId="1469557162" sldId="1881838637"/>
            <ac:cxnSpMk id="29" creationId="{C0CB3E69-9043-4FB9-92B9-77A9CEC8D313}"/>
          </ac:cxnSpMkLst>
        </pc:cxnChg>
      </pc:sldChg>
      <pc:sldChg chg="addSp delSp modSp add mod ord">
        <pc:chgData name="Ettore Minelli" userId="7870a1ad-01cf-4239-8cce-750deae7f4ef" providerId="ADAL" clId="{97863174-A4D6-40FC-87CB-EB217C5B4254}" dt="2022-10-05T14:40:25.401" v="2239" actId="167"/>
        <pc:sldMkLst>
          <pc:docMk/>
          <pc:sldMk cId="3920588479" sldId="1881838638"/>
        </pc:sldMkLst>
        <pc:spChg chg="mod">
          <ac:chgData name="Ettore Minelli" userId="7870a1ad-01cf-4239-8cce-750deae7f4ef" providerId="ADAL" clId="{97863174-A4D6-40FC-87CB-EB217C5B4254}" dt="2022-10-05T12:38:58.587" v="856" actId="14100"/>
          <ac:spMkLst>
            <pc:docMk/>
            <pc:sldMk cId="3920588479" sldId="1881838638"/>
            <ac:spMk id="2" creationId="{87A4E177-908D-403C-85A7-D808653C1A8F}"/>
          </ac:spMkLst>
        </pc:spChg>
        <pc:spChg chg="mod">
          <ac:chgData name="Ettore Minelli" userId="7870a1ad-01cf-4239-8cce-750deae7f4ef" providerId="ADAL" clId="{97863174-A4D6-40FC-87CB-EB217C5B4254}" dt="2022-10-05T12:37:42.250" v="855"/>
          <ac:spMkLst>
            <pc:docMk/>
            <pc:sldMk cId="3920588479" sldId="1881838638"/>
            <ac:spMk id="22" creationId="{80CDE037-0580-4F71-A58C-FD65A88A0C6E}"/>
          </ac:spMkLst>
        </pc:spChg>
        <pc:spChg chg="del">
          <ac:chgData name="Ettore Minelli" userId="7870a1ad-01cf-4239-8cce-750deae7f4ef" providerId="ADAL" clId="{97863174-A4D6-40FC-87CB-EB217C5B4254}" dt="2022-10-05T12:37:00.693" v="853" actId="478"/>
          <ac:spMkLst>
            <pc:docMk/>
            <pc:sldMk cId="3920588479" sldId="1881838638"/>
            <ac:spMk id="23" creationId="{47681B08-2478-4350-ACF4-9D7CDA283196}"/>
          </ac:spMkLst>
        </pc:spChg>
        <pc:spChg chg="del">
          <ac:chgData name="Ettore Minelli" userId="7870a1ad-01cf-4239-8cce-750deae7f4ef" providerId="ADAL" clId="{97863174-A4D6-40FC-87CB-EB217C5B4254}" dt="2022-10-05T12:37:00.693" v="853" actId="478"/>
          <ac:spMkLst>
            <pc:docMk/>
            <pc:sldMk cId="3920588479" sldId="1881838638"/>
            <ac:spMk id="31" creationId="{C49B49A9-8E0E-4C3A-9E7A-CA1E488DA396}"/>
          </ac:spMkLst>
        </pc:spChg>
        <pc:spChg chg="del">
          <ac:chgData name="Ettore Minelli" userId="7870a1ad-01cf-4239-8cce-750deae7f4ef" providerId="ADAL" clId="{97863174-A4D6-40FC-87CB-EB217C5B4254}" dt="2022-10-05T12:37:00.693" v="853" actId="478"/>
          <ac:spMkLst>
            <pc:docMk/>
            <pc:sldMk cId="3920588479" sldId="1881838638"/>
            <ac:spMk id="32" creationId="{1C3EE43B-87FF-4ED3-B4FF-89519CFA6E39}"/>
          </ac:spMkLst>
        </pc:spChg>
        <pc:spChg chg="del">
          <ac:chgData name="Ettore Minelli" userId="7870a1ad-01cf-4239-8cce-750deae7f4ef" providerId="ADAL" clId="{97863174-A4D6-40FC-87CB-EB217C5B4254}" dt="2022-10-05T12:37:00.693" v="853" actId="478"/>
          <ac:spMkLst>
            <pc:docMk/>
            <pc:sldMk cId="3920588479" sldId="1881838638"/>
            <ac:spMk id="33" creationId="{9D8BA50F-7247-4CD9-BA90-5C6B1ED204F5}"/>
          </ac:spMkLst>
        </pc:spChg>
        <pc:spChg chg="del">
          <ac:chgData name="Ettore Minelli" userId="7870a1ad-01cf-4239-8cce-750deae7f4ef" providerId="ADAL" clId="{97863174-A4D6-40FC-87CB-EB217C5B4254}" dt="2022-10-05T12:37:00.693" v="853" actId="478"/>
          <ac:spMkLst>
            <pc:docMk/>
            <pc:sldMk cId="3920588479" sldId="1881838638"/>
            <ac:spMk id="34" creationId="{08E3510A-37BA-4AE3-A6E5-C65B21A34C40}"/>
          </ac:spMkLst>
        </pc:spChg>
        <pc:spChg chg="del">
          <ac:chgData name="Ettore Minelli" userId="7870a1ad-01cf-4239-8cce-750deae7f4ef" providerId="ADAL" clId="{97863174-A4D6-40FC-87CB-EB217C5B4254}" dt="2022-10-05T12:37:00.693" v="853" actId="478"/>
          <ac:spMkLst>
            <pc:docMk/>
            <pc:sldMk cId="3920588479" sldId="1881838638"/>
            <ac:spMk id="35" creationId="{F8E22117-4F82-48F7-B9DA-88B914C8F350}"/>
          </ac:spMkLst>
        </pc:spChg>
        <pc:spChg chg="del">
          <ac:chgData name="Ettore Minelli" userId="7870a1ad-01cf-4239-8cce-750deae7f4ef" providerId="ADAL" clId="{97863174-A4D6-40FC-87CB-EB217C5B4254}" dt="2022-10-05T12:37:00.693" v="853" actId="478"/>
          <ac:spMkLst>
            <pc:docMk/>
            <pc:sldMk cId="3920588479" sldId="1881838638"/>
            <ac:spMk id="36" creationId="{9514CE28-F757-41CD-BD7A-B8C121156840}"/>
          </ac:spMkLst>
        </pc:spChg>
        <pc:spChg chg="del">
          <ac:chgData name="Ettore Minelli" userId="7870a1ad-01cf-4239-8cce-750deae7f4ef" providerId="ADAL" clId="{97863174-A4D6-40FC-87CB-EB217C5B4254}" dt="2022-10-05T12:37:00.693" v="853" actId="478"/>
          <ac:spMkLst>
            <pc:docMk/>
            <pc:sldMk cId="3920588479" sldId="1881838638"/>
            <ac:spMk id="38" creationId="{436863F2-4B0A-44C9-B74C-B02095CB74F1}"/>
          </ac:spMkLst>
        </pc:spChg>
        <pc:spChg chg="del">
          <ac:chgData name="Ettore Minelli" userId="7870a1ad-01cf-4239-8cce-750deae7f4ef" providerId="ADAL" clId="{97863174-A4D6-40FC-87CB-EB217C5B4254}" dt="2022-10-05T12:37:00.693" v="853" actId="478"/>
          <ac:spMkLst>
            <pc:docMk/>
            <pc:sldMk cId="3920588479" sldId="1881838638"/>
            <ac:spMk id="39" creationId="{994B1F3E-A62F-47CB-9B2A-9CC61B5CA1B1}"/>
          </ac:spMkLst>
        </pc:spChg>
        <pc:spChg chg="del">
          <ac:chgData name="Ettore Minelli" userId="7870a1ad-01cf-4239-8cce-750deae7f4ef" providerId="ADAL" clId="{97863174-A4D6-40FC-87CB-EB217C5B4254}" dt="2022-10-05T12:37:00.693" v="853" actId="478"/>
          <ac:spMkLst>
            <pc:docMk/>
            <pc:sldMk cId="3920588479" sldId="1881838638"/>
            <ac:spMk id="41" creationId="{DDB46039-D116-45A2-AFD4-167D46787F67}"/>
          </ac:spMkLst>
        </pc:spChg>
        <pc:spChg chg="del">
          <ac:chgData name="Ettore Minelli" userId="7870a1ad-01cf-4239-8cce-750deae7f4ef" providerId="ADAL" clId="{97863174-A4D6-40FC-87CB-EB217C5B4254}" dt="2022-10-05T12:37:00.693" v="853" actId="478"/>
          <ac:spMkLst>
            <pc:docMk/>
            <pc:sldMk cId="3920588479" sldId="1881838638"/>
            <ac:spMk id="42" creationId="{662C5182-9A61-4274-B7C8-EA5AA0E0F61C}"/>
          </ac:spMkLst>
        </pc:spChg>
        <pc:spChg chg="del">
          <ac:chgData name="Ettore Minelli" userId="7870a1ad-01cf-4239-8cce-750deae7f4ef" providerId="ADAL" clId="{97863174-A4D6-40FC-87CB-EB217C5B4254}" dt="2022-10-05T12:37:00.693" v="853" actId="478"/>
          <ac:spMkLst>
            <pc:docMk/>
            <pc:sldMk cId="3920588479" sldId="1881838638"/>
            <ac:spMk id="44" creationId="{52F969D9-53F2-47A2-94B2-77151B7812D2}"/>
          </ac:spMkLst>
        </pc:spChg>
        <pc:spChg chg="del">
          <ac:chgData name="Ettore Minelli" userId="7870a1ad-01cf-4239-8cce-750deae7f4ef" providerId="ADAL" clId="{97863174-A4D6-40FC-87CB-EB217C5B4254}" dt="2022-10-05T12:37:00.693" v="853" actId="478"/>
          <ac:spMkLst>
            <pc:docMk/>
            <pc:sldMk cId="3920588479" sldId="1881838638"/>
            <ac:spMk id="45" creationId="{68367274-AD1C-4205-9236-71CD11956096}"/>
          </ac:spMkLst>
        </pc:spChg>
        <pc:spChg chg="del">
          <ac:chgData name="Ettore Minelli" userId="7870a1ad-01cf-4239-8cce-750deae7f4ef" providerId="ADAL" clId="{97863174-A4D6-40FC-87CB-EB217C5B4254}" dt="2022-10-05T12:37:00.693" v="853" actId="478"/>
          <ac:spMkLst>
            <pc:docMk/>
            <pc:sldMk cId="3920588479" sldId="1881838638"/>
            <ac:spMk id="47" creationId="{F9EA21AB-64A0-4935-A1E4-D513B358D1E1}"/>
          </ac:spMkLst>
        </pc:spChg>
        <pc:spChg chg="del">
          <ac:chgData name="Ettore Minelli" userId="7870a1ad-01cf-4239-8cce-750deae7f4ef" providerId="ADAL" clId="{97863174-A4D6-40FC-87CB-EB217C5B4254}" dt="2022-10-05T12:37:00.693" v="853" actId="478"/>
          <ac:spMkLst>
            <pc:docMk/>
            <pc:sldMk cId="3920588479" sldId="1881838638"/>
            <ac:spMk id="48" creationId="{B98CEA45-4A8B-4602-B873-6436810D660D}"/>
          </ac:spMkLst>
        </pc:spChg>
        <pc:spChg chg="del">
          <ac:chgData name="Ettore Minelli" userId="7870a1ad-01cf-4239-8cce-750deae7f4ef" providerId="ADAL" clId="{97863174-A4D6-40FC-87CB-EB217C5B4254}" dt="2022-10-05T12:37:00.693" v="853" actId="478"/>
          <ac:spMkLst>
            <pc:docMk/>
            <pc:sldMk cId="3920588479" sldId="1881838638"/>
            <ac:spMk id="49" creationId="{8866EEF2-EC25-49B5-B646-B176BD536616}"/>
          </ac:spMkLst>
        </pc:spChg>
        <pc:spChg chg="del">
          <ac:chgData name="Ettore Minelli" userId="7870a1ad-01cf-4239-8cce-750deae7f4ef" providerId="ADAL" clId="{97863174-A4D6-40FC-87CB-EB217C5B4254}" dt="2022-10-05T12:37:00.693" v="853" actId="478"/>
          <ac:spMkLst>
            <pc:docMk/>
            <pc:sldMk cId="3920588479" sldId="1881838638"/>
            <ac:spMk id="50" creationId="{AC168B4A-2919-4672-903C-495E2DC077FB}"/>
          </ac:spMkLst>
        </pc:spChg>
        <pc:spChg chg="del">
          <ac:chgData name="Ettore Minelli" userId="7870a1ad-01cf-4239-8cce-750deae7f4ef" providerId="ADAL" clId="{97863174-A4D6-40FC-87CB-EB217C5B4254}" dt="2022-10-05T12:37:00.693" v="853" actId="478"/>
          <ac:spMkLst>
            <pc:docMk/>
            <pc:sldMk cId="3920588479" sldId="1881838638"/>
            <ac:spMk id="51" creationId="{33DD6413-7488-4506-A475-A9069378B1F3}"/>
          </ac:spMkLst>
        </pc:spChg>
        <pc:spChg chg="add mod">
          <ac:chgData name="Ettore Minelli" userId="7870a1ad-01cf-4239-8cce-750deae7f4ef" providerId="ADAL" clId="{97863174-A4D6-40FC-87CB-EB217C5B4254}" dt="2022-10-05T14:09:05.414" v="1992" actId="1076"/>
          <ac:spMkLst>
            <pc:docMk/>
            <pc:sldMk cId="3920588479" sldId="1881838638"/>
            <ac:spMk id="77" creationId="{D783F838-71FF-43F3-883F-2F83CF8B595D}"/>
          </ac:spMkLst>
        </pc:spChg>
        <pc:spChg chg="add mod">
          <ac:chgData name="Ettore Minelli" userId="7870a1ad-01cf-4239-8cce-750deae7f4ef" providerId="ADAL" clId="{97863174-A4D6-40FC-87CB-EB217C5B4254}" dt="2022-10-05T14:19:24.486" v="2108" actId="14100"/>
          <ac:spMkLst>
            <pc:docMk/>
            <pc:sldMk cId="3920588479" sldId="1881838638"/>
            <ac:spMk id="79" creationId="{717085EE-A9B8-4D6B-8E5C-7DC7A2AF4B0A}"/>
          </ac:spMkLst>
        </pc:spChg>
        <pc:spChg chg="add mod topLvl">
          <ac:chgData name="Ettore Minelli" userId="7870a1ad-01cf-4239-8cce-750deae7f4ef" providerId="ADAL" clId="{97863174-A4D6-40FC-87CB-EB217C5B4254}" dt="2022-10-05T14:09:59.165" v="1998" actId="164"/>
          <ac:spMkLst>
            <pc:docMk/>
            <pc:sldMk cId="3920588479" sldId="1881838638"/>
            <ac:spMk id="83" creationId="{DFD09825-BE3F-4047-9DAF-397C27DC0370}"/>
          </ac:spMkLst>
        </pc:spChg>
        <pc:spChg chg="add del mod topLvl">
          <ac:chgData name="Ettore Minelli" userId="7870a1ad-01cf-4239-8cce-750deae7f4ef" providerId="ADAL" clId="{97863174-A4D6-40FC-87CB-EB217C5B4254}" dt="2022-10-05T12:58:52.476" v="954" actId="478"/>
          <ac:spMkLst>
            <pc:docMk/>
            <pc:sldMk cId="3920588479" sldId="1881838638"/>
            <ac:spMk id="85" creationId="{81B4A36F-F1C5-4C1D-A19B-DC879EACBBA4}"/>
          </ac:spMkLst>
        </pc:spChg>
        <pc:spChg chg="add del mod topLvl">
          <ac:chgData name="Ettore Minelli" userId="7870a1ad-01cf-4239-8cce-750deae7f4ef" providerId="ADAL" clId="{97863174-A4D6-40FC-87CB-EB217C5B4254}" dt="2022-10-05T12:58:52.476" v="954" actId="478"/>
          <ac:spMkLst>
            <pc:docMk/>
            <pc:sldMk cId="3920588479" sldId="1881838638"/>
            <ac:spMk id="87" creationId="{BEB16824-BD31-4217-9F4B-0C05809E6F81}"/>
          </ac:spMkLst>
        </pc:spChg>
        <pc:spChg chg="add del mod topLvl">
          <ac:chgData name="Ettore Minelli" userId="7870a1ad-01cf-4239-8cce-750deae7f4ef" providerId="ADAL" clId="{97863174-A4D6-40FC-87CB-EB217C5B4254}" dt="2022-10-05T12:58:52.476" v="954" actId="478"/>
          <ac:spMkLst>
            <pc:docMk/>
            <pc:sldMk cId="3920588479" sldId="1881838638"/>
            <ac:spMk id="89" creationId="{FBD00A55-883B-4580-9974-A90F934B9B5D}"/>
          </ac:spMkLst>
        </pc:spChg>
        <pc:spChg chg="add del mod">
          <ac:chgData name="Ettore Minelli" userId="7870a1ad-01cf-4239-8cce-750deae7f4ef" providerId="ADAL" clId="{97863174-A4D6-40FC-87CB-EB217C5B4254}" dt="2022-10-05T12:57:50.151" v="945"/>
          <ac:spMkLst>
            <pc:docMk/>
            <pc:sldMk cId="3920588479" sldId="1881838638"/>
            <ac:spMk id="91" creationId="{A000C992-7AED-4EB6-9C66-70B874D40D4E}"/>
          </ac:spMkLst>
        </pc:spChg>
        <pc:spChg chg="add mod topLvl">
          <ac:chgData name="Ettore Minelli" userId="7870a1ad-01cf-4239-8cce-750deae7f4ef" providerId="ADAL" clId="{97863174-A4D6-40FC-87CB-EB217C5B4254}" dt="2022-10-05T14:10:24.941" v="2003" actId="552"/>
          <ac:spMkLst>
            <pc:docMk/>
            <pc:sldMk cId="3920588479" sldId="1881838638"/>
            <ac:spMk id="92" creationId="{F19A72A7-DB50-46C5-A4DE-80A0B2B454D9}"/>
          </ac:spMkLst>
        </pc:spChg>
        <pc:spChg chg="mod topLvl">
          <ac:chgData name="Ettore Minelli" userId="7870a1ad-01cf-4239-8cce-750deae7f4ef" providerId="ADAL" clId="{97863174-A4D6-40FC-87CB-EB217C5B4254}" dt="2022-10-05T14:12:41.643" v="2031" actId="164"/>
          <ac:spMkLst>
            <pc:docMk/>
            <pc:sldMk cId="3920588479" sldId="1881838638"/>
            <ac:spMk id="96" creationId="{E04A8EC7-FECF-4E28-824A-5016C1AD1534}"/>
          </ac:spMkLst>
        </pc:spChg>
        <pc:spChg chg="mod topLvl">
          <ac:chgData name="Ettore Minelli" userId="7870a1ad-01cf-4239-8cce-750deae7f4ef" providerId="ADAL" clId="{97863174-A4D6-40FC-87CB-EB217C5B4254}" dt="2022-10-05T14:11:47.075" v="2018" actId="164"/>
          <ac:spMkLst>
            <pc:docMk/>
            <pc:sldMk cId="3920588479" sldId="1881838638"/>
            <ac:spMk id="101" creationId="{7F7DB158-ADA4-4020-9963-B03F55FE0E0E}"/>
          </ac:spMkLst>
        </pc:spChg>
        <pc:spChg chg="mod topLvl">
          <ac:chgData name="Ettore Minelli" userId="7870a1ad-01cf-4239-8cce-750deae7f4ef" providerId="ADAL" clId="{97863174-A4D6-40FC-87CB-EB217C5B4254}" dt="2022-10-05T14:11:20.026" v="2011" actId="164"/>
          <ac:spMkLst>
            <pc:docMk/>
            <pc:sldMk cId="3920588479" sldId="1881838638"/>
            <ac:spMk id="106" creationId="{9D7FA56C-F7FB-4783-9450-E8E3911F93FA}"/>
          </ac:spMkLst>
        </pc:spChg>
        <pc:spChg chg="add mod topLvl">
          <ac:chgData name="Ettore Minelli" userId="7870a1ad-01cf-4239-8cce-750deae7f4ef" providerId="ADAL" clId="{97863174-A4D6-40FC-87CB-EB217C5B4254}" dt="2022-10-05T14:39:42.415" v="2230" actId="113"/>
          <ac:spMkLst>
            <pc:docMk/>
            <pc:sldMk cId="3920588479" sldId="1881838638"/>
            <ac:spMk id="108" creationId="{7D80ADE0-B05C-407A-91E8-6A3C8DF20338}"/>
          </ac:spMkLst>
        </pc:spChg>
        <pc:spChg chg="add del mod">
          <ac:chgData name="Ettore Minelli" userId="7870a1ad-01cf-4239-8cce-750deae7f4ef" providerId="ADAL" clId="{97863174-A4D6-40FC-87CB-EB217C5B4254}" dt="2022-10-05T13:07:42.922" v="971" actId="478"/>
          <ac:spMkLst>
            <pc:docMk/>
            <pc:sldMk cId="3920588479" sldId="1881838638"/>
            <ac:spMk id="109" creationId="{A44163BE-4D5D-4B61-86E8-CF200841C5D6}"/>
          </ac:spMkLst>
        </pc:spChg>
        <pc:spChg chg="add mod topLvl">
          <ac:chgData name="Ettore Minelli" userId="7870a1ad-01cf-4239-8cce-750deae7f4ef" providerId="ADAL" clId="{97863174-A4D6-40FC-87CB-EB217C5B4254}" dt="2022-10-05T14:39:59.831" v="2235" actId="113"/>
          <ac:spMkLst>
            <pc:docMk/>
            <pc:sldMk cId="3920588479" sldId="1881838638"/>
            <ac:spMk id="110" creationId="{05D2818D-6395-4970-B943-896EC781CAA3}"/>
          </ac:spMkLst>
        </pc:spChg>
        <pc:spChg chg="add mod topLvl">
          <ac:chgData name="Ettore Minelli" userId="7870a1ad-01cf-4239-8cce-750deae7f4ef" providerId="ADAL" clId="{97863174-A4D6-40FC-87CB-EB217C5B4254}" dt="2022-10-05T14:40:12.983" v="2238" actId="113"/>
          <ac:spMkLst>
            <pc:docMk/>
            <pc:sldMk cId="3920588479" sldId="1881838638"/>
            <ac:spMk id="111" creationId="{2A8CA2AC-7CAA-4C2B-8D74-70B37F4E07A5}"/>
          </ac:spMkLst>
        </pc:spChg>
        <pc:spChg chg="add del mod">
          <ac:chgData name="Ettore Minelli" userId="7870a1ad-01cf-4239-8cce-750deae7f4ef" providerId="ADAL" clId="{97863174-A4D6-40FC-87CB-EB217C5B4254}" dt="2022-10-05T14:02:11.093" v="1936" actId="478"/>
          <ac:spMkLst>
            <pc:docMk/>
            <pc:sldMk cId="3920588479" sldId="1881838638"/>
            <ac:spMk id="116" creationId="{59ED76B3-D18D-4113-9E8B-28DA2AF03958}"/>
          </ac:spMkLst>
        </pc:spChg>
        <pc:spChg chg="add del mod">
          <ac:chgData name="Ettore Minelli" userId="7870a1ad-01cf-4239-8cce-750deae7f4ef" providerId="ADAL" clId="{97863174-A4D6-40FC-87CB-EB217C5B4254}" dt="2022-10-05T14:02:11.093" v="1936" actId="478"/>
          <ac:spMkLst>
            <pc:docMk/>
            <pc:sldMk cId="3920588479" sldId="1881838638"/>
            <ac:spMk id="117" creationId="{D5B464B4-1E3D-4B44-9321-380AEC01BDA4}"/>
          </ac:spMkLst>
        </pc:spChg>
        <pc:spChg chg="add mod">
          <ac:chgData name="Ettore Minelli" userId="7870a1ad-01cf-4239-8cce-750deae7f4ef" providerId="ADAL" clId="{97863174-A4D6-40FC-87CB-EB217C5B4254}" dt="2022-10-05T14:39:17.562" v="2228" actId="113"/>
          <ac:spMkLst>
            <pc:docMk/>
            <pc:sldMk cId="3920588479" sldId="1881838638"/>
            <ac:spMk id="126" creationId="{DDC11022-6C23-4D73-BFB2-7643DD9614D1}"/>
          </ac:spMkLst>
        </pc:spChg>
        <pc:spChg chg="add del mod">
          <ac:chgData name="Ettore Minelli" userId="7870a1ad-01cf-4239-8cce-750deae7f4ef" providerId="ADAL" clId="{97863174-A4D6-40FC-87CB-EB217C5B4254}" dt="2022-10-05T14:13:26.210" v="2038" actId="478"/>
          <ac:spMkLst>
            <pc:docMk/>
            <pc:sldMk cId="3920588479" sldId="1881838638"/>
            <ac:spMk id="127" creationId="{A533CB5B-95BD-4E71-8850-DA38718396EB}"/>
          </ac:spMkLst>
        </pc:spChg>
        <pc:spChg chg="add del mod">
          <ac:chgData name="Ettore Minelli" userId="7870a1ad-01cf-4239-8cce-750deae7f4ef" providerId="ADAL" clId="{97863174-A4D6-40FC-87CB-EB217C5B4254}" dt="2022-10-05T14:18:59.021" v="2099" actId="478"/>
          <ac:spMkLst>
            <pc:docMk/>
            <pc:sldMk cId="3920588479" sldId="1881838638"/>
            <ac:spMk id="128" creationId="{51682C3D-DC3E-4C4B-A740-F9CEE82B73B9}"/>
          </ac:spMkLst>
        </pc:spChg>
        <pc:grpChg chg="add del mod ord">
          <ac:chgData name="Ettore Minelli" userId="7870a1ad-01cf-4239-8cce-750deae7f4ef" providerId="ADAL" clId="{97863174-A4D6-40FC-87CB-EB217C5B4254}" dt="2022-10-05T12:46:12.630" v="915" actId="165"/>
          <ac:grpSpMkLst>
            <pc:docMk/>
            <pc:sldMk cId="3920588479" sldId="1881838638"/>
            <ac:grpSpMk id="9" creationId="{24E359B8-CFDE-4660-B945-E10143BB62D0}"/>
          </ac:grpSpMkLst>
        </pc:grpChg>
        <pc:grpChg chg="add del mod topLvl">
          <ac:chgData name="Ettore Minelli" userId="7870a1ad-01cf-4239-8cce-750deae7f4ef" providerId="ADAL" clId="{97863174-A4D6-40FC-87CB-EB217C5B4254}" dt="2022-10-05T14:05:26.811" v="1960" actId="165"/>
          <ac:grpSpMkLst>
            <pc:docMk/>
            <pc:sldMk cId="3920588479" sldId="1881838638"/>
            <ac:grpSpMk id="11" creationId="{389FA650-5478-4B37-9FE1-448D4B2C0712}"/>
          </ac:grpSpMkLst>
        </pc:grpChg>
        <pc:grpChg chg="add del mod topLvl">
          <ac:chgData name="Ettore Minelli" userId="7870a1ad-01cf-4239-8cce-750deae7f4ef" providerId="ADAL" clId="{97863174-A4D6-40FC-87CB-EB217C5B4254}" dt="2022-10-05T14:03:26.107" v="1944" actId="165"/>
          <ac:grpSpMkLst>
            <pc:docMk/>
            <pc:sldMk cId="3920588479" sldId="1881838638"/>
            <ac:grpSpMk id="12" creationId="{428B4AE8-E73F-481E-B14F-585C7F117C50}"/>
          </ac:grpSpMkLst>
        </pc:grpChg>
        <pc:grpChg chg="add del mod topLvl">
          <ac:chgData name="Ettore Minelli" userId="7870a1ad-01cf-4239-8cce-750deae7f4ef" providerId="ADAL" clId="{97863174-A4D6-40FC-87CB-EB217C5B4254}" dt="2022-10-05T14:09:32.243" v="1995" actId="165"/>
          <ac:grpSpMkLst>
            <pc:docMk/>
            <pc:sldMk cId="3920588479" sldId="1881838638"/>
            <ac:grpSpMk id="14" creationId="{883D67CD-6A72-40E4-95D6-A442AE871795}"/>
          </ac:grpSpMkLst>
        </pc:grpChg>
        <pc:grpChg chg="add del mod">
          <ac:chgData name="Ettore Minelli" userId="7870a1ad-01cf-4239-8cce-750deae7f4ef" providerId="ADAL" clId="{97863174-A4D6-40FC-87CB-EB217C5B4254}" dt="2022-10-05T14:03:22.011" v="1943" actId="165"/>
          <ac:grpSpMkLst>
            <pc:docMk/>
            <pc:sldMk cId="3920588479" sldId="1881838638"/>
            <ac:grpSpMk id="15" creationId="{57CA0B83-A9AB-43E0-89C9-E4EA82E6CFC7}"/>
          </ac:grpSpMkLst>
        </pc:grpChg>
        <pc:grpChg chg="add del mod">
          <ac:chgData name="Ettore Minelli" userId="7870a1ad-01cf-4239-8cce-750deae7f4ef" providerId="ADAL" clId="{97863174-A4D6-40FC-87CB-EB217C5B4254}" dt="2022-10-05T14:07:17.115" v="1973" actId="165"/>
          <ac:grpSpMkLst>
            <pc:docMk/>
            <pc:sldMk cId="3920588479" sldId="1881838638"/>
            <ac:grpSpMk id="16" creationId="{C174A927-4712-43D6-9097-D824E4C548DB}"/>
          </ac:grpSpMkLst>
        </pc:grpChg>
        <pc:grpChg chg="add del mod">
          <ac:chgData name="Ettore Minelli" userId="7870a1ad-01cf-4239-8cce-750deae7f4ef" providerId="ADAL" clId="{97863174-A4D6-40FC-87CB-EB217C5B4254}" dt="2022-10-05T14:07:35.574" v="1976" actId="165"/>
          <ac:grpSpMkLst>
            <pc:docMk/>
            <pc:sldMk cId="3920588479" sldId="1881838638"/>
            <ac:grpSpMk id="17" creationId="{AE47EDF6-DB32-495D-996E-2AEE4E8D8FE2}"/>
          </ac:grpSpMkLst>
        </pc:grpChg>
        <pc:grpChg chg="add del mod topLvl">
          <ac:chgData name="Ettore Minelli" userId="7870a1ad-01cf-4239-8cce-750deae7f4ef" providerId="ADAL" clId="{97863174-A4D6-40FC-87CB-EB217C5B4254}" dt="2022-10-05T14:11:06.676" v="2008" actId="165"/>
          <ac:grpSpMkLst>
            <pc:docMk/>
            <pc:sldMk cId="3920588479" sldId="1881838638"/>
            <ac:grpSpMk id="18" creationId="{6D9E988F-1B81-4E7F-BEAA-304223DAF3B9}"/>
          </ac:grpSpMkLst>
        </pc:grpChg>
        <pc:grpChg chg="add del mod topLvl">
          <ac:chgData name="Ettore Minelli" userId="7870a1ad-01cf-4239-8cce-750deae7f4ef" providerId="ADAL" clId="{97863174-A4D6-40FC-87CB-EB217C5B4254}" dt="2022-10-05T14:11:30.083" v="2014" actId="165"/>
          <ac:grpSpMkLst>
            <pc:docMk/>
            <pc:sldMk cId="3920588479" sldId="1881838638"/>
            <ac:grpSpMk id="19" creationId="{68D3A7E1-9343-4B92-A25B-BFF88BB1C950}"/>
          </ac:grpSpMkLst>
        </pc:grpChg>
        <pc:grpChg chg="add del mod topLvl">
          <ac:chgData name="Ettore Minelli" userId="7870a1ad-01cf-4239-8cce-750deae7f4ef" providerId="ADAL" clId="{97863174-A4D6-40FC-87CB-EB217C5B4254}" dt="2022-10-05T14:12:08.914" v="2022" actId="165"/>
          <ac:grpSpMkLst>
            <pc:docMk/>
            <pc:sldMk cId="3920588479" sldId="1881838638"/>
            <ac:grpSpMk id="20" creationId="{79F00CA6-420F-47F3-8B01-A465B2DFA2C1}"/>
          </ac:grpSpMkLst>
        </pc:grpChg>
        <pc:grpChg chg="add mod">
          <ac:chgData name="Ettore Minelli" userId="7870a1ad-01cf-4239-8cce-750deae7f4ef" providerId="ADAL" clId="{97863174-A4D6-40FC-87CB-EB217C5B4254}" dt="2022-10-05T14:09:59.165" v="1998" actId="164"/>
          <ac:grpSpMkLst>
            <pc:docMk/>
            <pc:sldMk cId="3920588479" sldId="1881838638"/>
            <ac:grpSpMk id="21" creationId="{00C36B1A-E735-44C1-8771-D210D9FDC81D}"/>
          </ac:grpSpMkLst>
        </pc:grpChg>
        <pc:grpChg chg="add mod">
          <ac:chgData name="Ettore Minelli" userId="7870a1ad-01cf-4239-8cce-750deae7f4ef" providerId="ADAL" clId="{97863174-A4D6-40FC-87CB-EB217C5B4254}" dt="2022-10-05T14:10:03.231" v="1999" actId="12789"/>
          <ac:grpSpMkLst>
            <pc:docMk/>
            <pc:sldMk cId="3920588479" sldId="1881838638"/>
            <ac:grpSpMk id="24" creationId="{5C11C22E-11D4-4CCE-AF07-A000C495F56F}"/>
          </ac:grpSpMkLst>
        </pc:grpChg>
        <pc:grpChg chg="add del mod">
          <ac:chgData name="Ettore Minelli" userId="7870a1ad-01cf-4239-8cce-750deae7f4ef" providerId="ADAL" clId="{97863174-A4D6-40FC-87CB-EB217C5B4254}" dt="2022-10-05T14:12:04.675" v="2021" actId="165"/>
          <ac:grpSpMkLst>
            <pc:docMk/>
            <pc:sldMk cId="3920588479" sldId="1881838638"/>
            <ac:grpSpMk id="25" creationId="{EAADA979-F014-4B45-BBBA-9A8762525F9B}"/>
          </ac:grpSpMkLst>
        </pc:grpChg>
        <pc:grpChg chg="add del mod">
          <ac:chgData name="Ettore Minelli" userId="7870a1ad-01cf-4239-8cce-750deae7f4ef" providerId="ADAL" clId="{97863174-A4D6-40FC-87CB-EB217C5B4254}" dt="2022-10-05T14:11:27.666" v="2013" actId="165"/>
          <ac:grpSpMkLst>
            <pc:docMk/>
            <pc:sldMk cId="3920588479" sldId="1881838638"/>
            <ac:grpSpMk id="26" creationId="{D4E9AD5B-37B5-46BA-9F86-FAF6609D2FFB}"/>
          </ac:grpSpMkLst>
        </pc:grpChg>
        <pc:grpChg chg="add del mod">
          <ac:chgData name="Ettore Minelli" userId="7870a1ad-01cf-4239-8cce-750deae7f4ef" providerId="ADAL" clId="{97863174-A4D6-40FC-87CB-EB217C5B4254}" dt="2022-10-05T14:11:03.680" v="2007" actId="165"/>
          <ac:grpSpMkLst>
            <pc:docMk/>
            <pc:sldMk cId="3920588479" sldId="1881838638"/>
            <ac:grpSpMk id="27" creationId="{E950E8AD-8B2E-4CF6-8DFF-A1E373399BE7}"/>
          </ac:grpSpMkLst>
        </pc:grpChg>
        <pc:grpChg chg="add del mod">
          <ac:chgData name="Ettore Minelli" userId="7870a1ad-01cf-4239-8cce-750deae7f4ef" providerId="ADAL" clId="{97863174-A4D6-40FC-87CB-EB217C5B4254}" dt="2022-10-05T13:59:46.603" v="1910" actId="165"/>
          <ac:grpSpMkLst>
            <pc:docMk/>
            <pc:sldMk cId="3920588479" sldId="1881838638"/>
            <ac:grpSpMk id="93" creationId="{CDA53585-748C-41B8-9AEB-56EC3996B4F5}"/>
          </ac:grpSpMkLst>
        </pc:grpChg>
        <pc:grpChg chg="del mod">
          <ac:chgData name="Ettore Minelli" userId="7870a1ad-01cf-4239-8cce-750deae7f4ef" providerId="ADAL" clId="{97863174-A4D6-40FC-87CB-EB217C5B4254}" dt="2022-10-05T13:59:18.992" v="1905" actId="478"/>
          <ac:grpSpMkLst>
            <pc:docMk/>
            <pc:sldMk cId="3920588479" sldId="1881838638"/>
            <ac:grpSpMk id="95" creationId="{3937854C-7FFE-498B-8C05-71CA6B6A7CF6}"/>
          </ac:grpSpMkLst>
        </pc:grpChg>
        <pc:grpChg chg="add del mod">
          <ac:chgData name="Ettore Minelli" userId="7870a1ad-01cf-4239-8cce-750deae7f4ef" providerId="ADAL" clId="{97863174-A4D6-40FC-87CB-EB217C5B4254}" dt="2022-10-05T14:00:44.034" v="1922" actId="165"/>
          <ac:grpSpMkLst>
            <pc:docMk/>
            <pc:sldMk cId="3920588479" sldId="1881838638"/>
            <ac:grpSpMk id="98" creationId="{7552CC3B-8F4D-4A7D-A57D-2677C773D840}"/>
          </ac:grpSpMkLst>
        </pc:grpChg>
        <pc:grpChg chg="del mod">
          <ac:chgData name="Ettore Minelli" userId="7870a1ad-01cf-4239-8cce-750deae7f4ef" providerId="ADAL" clId="{97863174-A4D6-40FC-87CB-EB217C5B4254}" dt="2022-10-05T13:59:22.037" v="1906" actId="478"/>
          <ac:grpSpMkLst>
            <pc:docMk/>
            <pc:sldMk cId="3920588479" sldId="1881838638"/>
            <ac:grpSpMk id="100" creationId="{218F6DE2-A1D2-46C4-9D36-F4CD8082F7F0}"/>
          </ac:grpSpMkLst>
        </pc:grpChg>
        <pc:grpChg chg="add del mod">
          <ac:chgData name="Ettore Minelli" userId="7870a1ad-01cf-4239-8cce-750deae7f4ef" providerId="ADAL" clId="{97863174-A4D6-40FC-87CB-EB217C5B4254}" dt="2022-10-05T14:01:15.131" v="1929" actId="165"/>
          <ac:grpSpMkLst>
            <pc:docMk/>
            <pc:sldMk cId="3920588479" sldId="1881838638"/>
            <ac:grpSpMk id="103" creationId="{FF4B5339-8263-4625-894D-9C8BEB2D802A}"/>
          </ac:grpSpMkLst>
        </pc:grpChg>
        <pc:grpChg chg="del mod">
          <ac:chgData name="Ettore Minelli" userId="7870a1ad-01cf-4239-8cce-750deae7f4ef" providerId="ADAL" clId="{97863174-A4D6-40FC-87CB-EB217C5B4254}" dt="2022-10-05T13:59:25.077" v="1907" actId="478"/>
          <ac:grpSpMkLst>
            <pc:docMk/>
            <pc:sldMk cId="3920588479" sldId="1881838638"/>
            <ac:grpSpMk id="105" creationId="{3E3DCF84-25EE-4C4A-9B0B-1DD89EA83F1F}"/>
          </ac:grpSpMkLst>
        </pc:grpChg>
        <pc:grpChg chg="add mod">
          <ac:chgData name="Ettore Minelli" userId="7870a1ad-01cf-4239-8cce-750deae7f4ef" providerId="ADAL" clId="{97863174-A4D6-40FC-87CB-EB217C5B4254}" dt="2022-10-05T14:09:59.165" v="1998" actId="164"/>
          <ac:grpSpMkLst>
            <pc:docMk/>
            <pc:sldMk cId="3920588479" sldId="1881838638"/>
            <ac:grpSpMk id="119" creationId="{FC01AC0F-9B79-45B6-BF42-2CAE5C92B8A6}"/>
          </ac:grpSpMkLst>
        </pc:grpChg>
        <pc:grpChg chg="add mod">
          <ac:chgData name="Ettore Minelli" userId="7870a1ad-01cf-4239-8cce-750deae7f4ef" providerId="ADAL" clId="{97863174-A4D6-40FC-87CB-EB217C5B4254}" dt="2022-10-05T14:11:24.451" v="2012" actId="164"/>
          <ac:grpSpMkLst>
            <pc:docMk/>
            <pc:sldMk cId="3920588479" sldId="1881838638"/>
            <ac:grpSpMk id="120" creationId="{898E0582-1EC9-48D6-B5F1-28D99EC037D3}"/>
          </ac:grpSpMkLst>
        </pc:grpChg>
        <pc:grpChg chg="add mod">
          <ac:chgData name="Ettore Minelli" userId="7870a1ad-01cf-4239-8cce-750deae7f4ef" providerId="ADAL" clId="{97863174-A4D6-40FC-87CB-EB217C5B4254}" dt="2022-10-05T14:11:24.451" v="2012" actId="164"/>
          <ac:grpSpMkLst>
            <pc:docMk/>
            <pc:sldMk cId="3920588479" sldId="1881838638"/>
            <ac:grpSpMk id="121" creationId="{FEB8AA74-79F4-4BDE-AEAA-6E1BF391AADA}"/>
          </ac:grpSpMkLst>
        </pc:grpChg>
        <pc:grpChg chg="add mod">
          <ac:chgData name="Ettore Minelli" userId="7870a1ad-01cf-4239-8cce-750deae7f4ef" providerId="ADAL" clId="{97863174-A4D6-40FC-87CB-EB217C5B4254}" dt="2022-10-05T14:11:54.992" v="2019" actId="164"/>
          <ac:grpSpMkLst>
            <pc:docMk/>
            <pc:sldMk cId="3920588479" sldId="1881838638"/>
            <ac:grpSpMk id="122" creationId="{EEBF4101-3768-4635-8DF3-07015A108116}"/>
          </ac:grpSpMkLst>
        </pc:grpChg>
        <pc:grpChg chg="add mod">
          <ac:chgData name="Ettore Minelli" userId="7870a1ad-01cf-4239-8cce-750deae7f4ef" providerId="ADAL" clId="{97863174-A4D6-40FC-87CB-EB217C5B4254}" dt="2022-10-05T14:11:54.992" v="2019" actId="164"/>
          <ac:grpSpMkLst>
            <pc:docMk/>
            <pc:sldMk cId="3920588479" sldId="1881838638"/>
            <ac:grpSpMk id="123" creationId="{69E2AB20-C198-412E-9650-1960595A9FBC}"/>
          </ac:grpSpMkLst>
        </pc:grpChg>
        <pc:grpChg chg="add mod">
          <ac:chgData name="Ettore Minelli" userId="7870a1ad-01cf-4239-8cce-750deae7f4ef" providerId="ADAL" clId="{97863174-A4D6-40FC-87CB-EB217C5B4254}" dt="2022-10-05T14:12:47.019" v="2032" actId="164"/>
          <ac:grpSpMkLst>
            <pc:docMk/>
            <pc:sldMk cId="3920588479" sldId="1881838638"/>
            <ac:grpSpMk id="124" creationId="{0DF55B70-B2BF-4AEE-947F-EE5884546ED2}"/>
          </ac:grpSpMkLst>
        </pc:grpChg>
        <pc:grpChg chg="add mod">
          <ac:chgData name="Ettore Minelli" userId="7870a1ad-01cf-4239-8cce-750deae7f4ef" providerId="ADAL" clId="{97863174-A4D6-40FC-87CB-EB217C5B4254}" dt="2022-10-05T14:12:47.019" v="2032" actId="164"/>
          <ac:grpSpMkLst>
            <pc:docMk/>
            <pc:sldMk cId="3920588479" sldId="1881838638"/>
            <ac:grpSpMk id="125" creationId="{10A111FF-3E6E-486F-AAB0-5A23BBE25225}"/>
          </ac:grpSpMkLst>
        </pc:grpChg>
        <pc:picChg chg="del">
          <ac:chgData name="Ettore Minelli" userId="7870a1ad-01cf-4239-8cce-750deae7f4ef" providerId="ADAL" clId="{97863174-A4D6-40FC-87CB-EB217C5B4254}" dt="2022-10-05T12:37:00.693" v="853" actId="478"/>
          <ac:picMkLst>
            <pc:docMk/>
            <pc:sldMk cId="3920588479" sldId="1881838638"/>
            <ac:picMk id="28" creationId="{212522CB-412F-4504-9846-5D3C56B986E9}"/>
          </ac:picMkLst>
        </pc:picChg>
        <pc:picChg chg="del">
          <ac:chgData name="Ettore Minelli" userId="7870a1ad-01cf-4239-8cce-750deae7f4ef" providerId="ADAL" clId="{97863174-A4D6-40FC-87CB-EB217C5B4254}" dt="2022-10-05T12:37:00.693" v="853" actId="478"/>
          <ac:picMkLst>
            <pc:docMk/>
            <pc:sldMk cId="3920588479" sldId="1881838638"/>
            <ac:picMk id="29" creationId="{1F1ADA25-D14E-446F-8436-D9E4DBC0C111}"/>
          </ac:picMkLst>
        </pc:picChg>
        <pc:picChg chg="del">
          <ac:chgData name="Ettore Minelli" userId="7870a1ad-01cf-4239-8cce-750deae7f4ef" providerId="ADAL" clId="{97863174-A4D6-40FC-87CB-EB217C5B4254}" dt="2022-10-05T12:37:00.693" v="853" actId="478"/>
          <ac:picMkLst>
            <pc:docMk/>
            <pc:sldMk cId="3920588479" sldId="1881838638"/>
            <ac:picMk id="37" creationId="{85697EC0-F026-4C26-884A-4FE43B5BEDC8}"/>
          </ac:picMkLst>
        </pc:picChg>
        <pc:picChg chg="del">
          <ac:chgData name="Ettore Minelli" userId="7870a1ad-01cf-4239-8cce-750deae7f4ef" providerId="ADAL" clId="{97863174-A4D6-40FC-87CB-EB217C5B4254}" dt="2022-10-05T12:37:00.693" v="853" actId="478"/>
          <ac:picMkLst>
            <pc:docMk/>
            <pc:sldMk cId="3920588479" sldId="1881838638"/>
            <ac:picMk id="43" creationId="{EEF5A5ED-8FED-4C71-92EC-46B50482DE87}"/>
          </ac:picMkLst>
        </pc:picChg>
        <pc:picChg chg="add mod topLvl">
          <ac:chgData name="Ettore Minelli" userId="7870a1ad-01cf-4239-8cce-750deae7f4ef" providerId="ADAL" clId="{97863174-A4D6-40FC-87CB-EB217C5B4254}" dt="2022-10-05T14:09:59.165" v="1998" actId="164"/>
          <ac:picMkLst>
            <pc:docMk/>
            <pc:sldMk cId="3920588479" sldId="1881838638"/>
            <ac:picMk id="90" creationId="{0430ABA3-DA3B-4DC5-95CF-BC6478076A73}"/>
          </ac:picMkLst>
        </pc:picChg>
        <pc:picChg chg="del mod">
          <ac:chgData name="Ettore Minelli" userId="7870a1ad-01cf-4239-8cce-750deae7f4ef" providerId="ADAL" clId="{97863174-A4D6-40FC-87CB-EB217C5B4254}" dt="2022-10-05T13:59:18.992" v="1905" actId="478"/>
          <ac:picMkLst>
            <pc:docMk/>
            <pc:sldMk cId="3920588479" sldId="1881838638"/>
            <ac:picMk id="97" creationId="{C41FAE4C-23A8-499C-A4D8-519520519F97}"/>
          </ac:picMkLst>
        </pc:picChg>
        <pc:picChg chg="del mod">
          <ac:chgData name="Ettore Minelli" userId="7870a1ad-01cf-4239-8cce-750deae7f4ef" providerId="ADAL" clId="{97863174-A4D6-40FC-87CB-EB217C5B4254}" dt="2022-10-05T13:59:22.037" v="1906" actId="478"/>
          <ac:picMkLst>
            <pc:docMk/>
            <pc:sldMk cId="3920588479" sldId="1881838638"/>
            <ac:picMk id="102" creationId="{BCEDA9D8-1317-4F23-8570-66D5FCDA001C}"/>
          </ac:picMkLst>
        </pc:picChg>
        <pc:picChg chg="del mod">
          <ac:chgData name="Ettore Minelli" userId="7870a1ad-01cf-4239-8cce-750deae7f4ef" providerId="ADAL" clId="{97863174-A4D6-40FC-87CB-EB217C5B4254}" dt="2022-10-05T13:59:25.077" v="1907" actId="478"/>
          <ac:picMkLst>
            <pc:docMk/>
            <pc:sldMk cId="3920588479" sldId="1881838638"/>
            <ac:picMk id="107" creationId="{E59870FE-545F-4ACB-8392-562731A049F6}"/>
          </ac:picMkLst>
        </pc:picChg>
        <pc:picChg chg="add mod topLvl">
          <ac:chgData name="Ettore Minelli" userId="7870a1ad-01cf-4239-8cce-750deae7f4ef" providerId="ADAL" clId="{97863174-A4D6-40FC-87CB-EB217C5B4254}" dt="2022-10-05T14:12:41.643" v="2031" actId="164"/>
          <ac:picMkLst>
            <pc:docMk/>
            <pc:sldMk cId="3920588479" sldId="1881838638"/>
            <ac:picMk id="112" creationId="{6FB3AC31-9E7A-4983-A2B9-E0DD5467A4FD}"/>
          </ac:picMkLst>
        </pc:picChg>
        <pc:picChg chg="add mod topLvl">
          <ac:chgData name="Ettore Minelli" userId="7870a1ad-01cf-4239-8cce-750deae7f4ef" providerId="ADAL" clId="{97863174-A4D6-40FC-87CB-EB217C5B4254}" dt="2022-10-05T14:11:47.075" v="2018" actId="164"/>
          <ac:picMkLst>
            <pc:docMk/>
            <pc:sldMk cId="3920588479" sldId="1881838638"/>
            <ac:picMk id="113" creationId="{69F75B6E-74AC-47DA-B2E3-2792A7AC75EB}"/>
          </ac:picMkLst>
        </pc:picChg>
        <pc:picChg chg="add mod topLvl">
          <ac:chgData name="Ettore Minelli" userId="7870a1ad-01cf-4239-8cce-750deae7f4ef" providerId="ADAL" clId="{97863174-A4D6-40FC-87CB-EB217C5B4254}" dt="2022-10-05T14:11:20.026" v="2011" actId="164"/>
          <ac:picMkLst>
            <pc:docMk/>
            <pc:sldMk cId="3920588479" sldId="1881838638"/>
            <ac:picMk id="114" creationId="{9FB05B5C-D011-42A0-A413-5B2BF94B2276}"/>
          </ac:picMkLst>
        </pc:picChg>
        <pc:picChg chg="add del mod">
          <ac:chgData name="Ettore Minelli" userId="7870a1ad-01cf-4239-8cce-750deae7f4ef" providerId="ADAL" clId="{97863174-A4D6-40FC-87CB-EB217C5B4254}" dt="2022-10-05T14:01:59.221" v="1933"/>
          <ac:picMkLst>
            <pc:docMk/>
            <pc:sldMk cId="3920588479" sldId="1881838638"/>
            <ac:picMk id="115" creationId="{4FF05008-65DE-4BA1-8955-61AC263E2BD3}"/>
          </ac:picMkLst>
        </pc:picChg>
        <pc:cxnChg chg="del">
          <ac:chgData name="Ettore Minelli" userId="7870a1ad-01cf-4239-8cce-750deae7f4ef" providerId="ADAL" clId="{97863174-A4D6-40FC-87CB-EB217C5B4254}" dt="2022-10-05T12:37:00.693" v="853" actId="478"/>
          <ac:cxnSpMkLst>
            <pc:docMk/>
            <pc:sldMk cId="3920588479" sldId="1881838638"/>
            <ac:cxnSpMk id="6" creationId="{6EF9B9EA-E5F7-4DB0-BC8C-45EF73016F23}"/>
          </ac:cxnSpMkLst>
        </pc:cxnChg>
        <pc:cxnChg chg="add del mod">
          <ac:chgData name="Ettore Minelli" userId="7870a1ad-01cf-4239-8cce-750deae7f4ef" providerId="ADAL" clId="{97863174-A4D6-40FC-87CB-EB217C5B4254}" dt="2022-10-05T12:45:02.985" v="889" actId="478"/>
          <ac:cxnSpMkLst>
            <pc:docMk/>
            <pc:sldMk cId="3920588479" sldId="1881838638"/>
            <ac:cxnSpMk id="7" creationId="{B92CBCB4-B34E-4774-80D6-FE26377396A7}"/>
          </ac:cxnSpMkLst>
        </pc:cxnChg>
        <pc:cxnChg chg="del">
          <ac:chgData name="Ettore Minelli" userId="7870a1ad-01cf-4239-8cce-750deae7f4ef" providerId="ADAL" clId="{97863174-A4D6-40FC-87CB-EB217C5B4254}" dt="2022-10-05T12:37:00.693" v="853" actId="478"/>
          <ac:cxnSpMkLst>
            <pc:docMk/>
            <pc:sldMk cId="3920588479" sldId="1881838638"/>
            <ac:cxnSpMk id="30" creationId="{B5E7505E-4C24-4796-B1CA-868E22D4DB70}"/>
          </ac:cxnSpMkLst>
        </pc:cxnChg>
        <pc:cxnChg chg="add del mod">
          <ac:chgData name="Ettore Minelli" userId="7870a1ad-01cf-4239-8cce-750deae7f4ef" providerId="ADAL" clId="{97863174-A4D6-40FC-87CB-EB217C5B4254}" dt="2022-10-05T12:45:05.438" v="890" actId="478"/>
          <ac:cxnSpMkLst>
            <pc:docMk/>
            <pc:sldMk cId="3920588479" sldId="1881838638"/>
            <ac:cxnSpMk id="80" creationId="{E4832B04-9174-4A0A-B7CF-E92728C092DD}"/>
          </ac:cxnSpMkLst>
        </pc:cxnChg>
        <pc:cxnChg chg="add mod ord topLvl">
          <ac:chgData name="Ettore Minelli" userId="7870a1ad-01cf-4239-8cce-750deae7f4ef" providerId="ADAL" clId="{97863174-A4D6-40FC-87CB-EB217C5B4254}" dt="2022-10-05T14:40:25.401" v="2239" actId="167"/>
          <ac:cxnSpMkLst>
            <pc:docMk/>
            <pc:sldMk cId="3920588479" sldId="1881838638"/>
            <ac:cxnSpMk id="81" creationId="{85C4FC41-05A5-4E91-A5D4-3B68D7739CD4}"/>
          </ac:cxnSpMkLst>
        </pc:cxnChg>
        <pc:cxnChg chg="add mod topLvl">
          <ac:chgData name="Ettore Minelli" userId="7870a1ad-01cf-4239-8cce-750deae7f4ef" providerId="ADAL" clId="{97863174-A4D6-40FC-87CB-EB217C5B4254}" dt="2022-10-05T14:09:59.165" v="1998" actId="164"/>
          <ac:cxnSpMkLst>
            <pc:docMk/>
            <pc:sldMk cId="3920588479" sldId="1881838638"/>
            <ac:cxnSpMk id="82" creationId="{2AC55484-CE61-48AF-BA20-D7758AFC688E}"/>
          </ac:cxnSpMkLst>
        </pc:cxnChg>
        <pc:cxnChg chg="add del mod topLvl">
          <ac:chgData name="Ettore Minelli" userId="7870a1ad-01cf-4239-8cce-750deae7f4ef" providerId="ADAL" clId="{97863174-A4D6-40FC-87CB-EB217C5B4254}" dt="2022-10-05T12:58:52.476" v="954" actId="478"/>
          <ac:cxnSpMkLst>
            <pc:docMk/>
            <pc:sldMk cId="3920588479" sldId="1881838638"/>
            <ac:cxnSpMk id="84" creationId="{836C8F96-68E1-4B85-860D-9D082E66AAB1}"/>
          </ac:cxnSpMkLst>
        </pc:cxnChg>
        <pc:cxnChg chg="add del mod topLvl">
          <ac:chgData name="Ettore Minelli" userId="7870a1ad-01cf-4239-8cce-750deae7f4ef" providerId="ADAL" clId="{97863174-A4D6-40FC-87CB-EB217C5B4254}" dt="2022-10-05T12:58:52.476" v="954" actId="478"/>
          <ac:cxnSpMkLst>
            <pc:docMk/>
            <pc:sldMk cId="3920588479" sldId="1881838638"/>
            <ac:cxnSpMk id="86" creationId="{998836C5-8185-46A1-B6D5-E8742B9187E2}"/>
          </ac:cxnSpMkLst>
        </pc:cxnChg>
        <pc:cxnChg chg="add del mod topLvl">
          <ac:chgData name="Ettore Minelli" userId="7870a1ad-01cf-4239-8cce-750deae7f4ef" providerId="ADAL" clId="{97863174-A4D6-40FC-87CB-EB217C5B4254}" dt="2022-10-05T12:58:52.476" v="954" actId="478"/>
          <ac:cxnSpMkLst>
            <pc:docMk/>
            <pc:sldMk cId="3920588479" sldId="1881838638"/>
            <ac:cxnSpMk id="88" creationId="{3A295532-0D53-4A70-83C9-83C5E7C66229}"/>
          </ac:cxnSpMkLst>
        </pc:cxnChg>
        <pc:cxnChg chg="mod topLvl">
          <ac:chgData name="Ettore Minelli" userId="7870a1ad-01cf-4239-8cce-750deae7f4ef" providerId="ADAL" clId="{97863174-A4D6-40FC-87CB-EB217C5B4254}" dt="2022-10-05T14:12:47.019" v="2032" actId="164"/>
          <ac:cxnSpMkLst>
            <pc:docMk/>
            <pc:sldMk cId="3920588479" sldId="1881838638"/>
            <ac:cxnSpMk id="94" creationId="{87B95006-B8A2-42C8-AC28-7C8F92CB6DAF}"/>
          </ac:cxnSpMkLst>
        </pc:cxnChg>
        <pc:cxnChg chg="mod topLvl">
          <ac:chgData name="Ettore Minelli" userId="7870a1ad-01cf-4239-8cce-750deae7f4ef" providerId="ADAL" clId="{97863174-A4D6-40FC-87CB-EB217C5B4254}" dt="2022-10-05T14:11:54.992" v="2019" actId="164"/>
          <ac:cxnSpMkLst>
            <pc:docMk/>
            <pc:sldMk cId="3920588479" sldId="1881838638"/>
            <ac:cxnSpMk id="99" creationId="{A48904B8-48B0-4D78-8D6E-A4AA9DC07D9F}"/>
          </ac:cxnSpMkLst>
        </pc:cxnChg>
        <pc:cxnChg chg="mod topLvl">
          <ac:chgData name="Ettore Minelli" userId="7870a1ad-01cf-4239-8cce-750deae7f4ef" providerId="ADAL" clId="{97863174-A4D6-40FC-87CB-EB217C5B4254}" dt="2022-10-05T14:11:24.451" v="2012" actId="164"/>
          <ac:cxnSpMkLst>
            <pc:docMk/>
            <pc:sldMk cId="3920588479" sldId="1881838638"/>
            <ac:cxnSpMk id="104" creationId="{AE745E24-9BB1-4B95-AD44-7B75FBA14316}"/>
          </ac:cxnSpMkLst>
        </pc:cxnChg>
      </pc:sldChg>
      <pc:sldChg chg="addSp delSp modSp add del mod">
        <pc:chgData name="Ettore Minelli" userId="7870a1ad-01cf-4239-8cce-750deae7f4ef" providerId="ADAL" clId="{97863174-A4D6-40FC-87CB-EB217C5B4254}" dt="2022-10-05T16:52:20.418" v="3270" actId="47"/>
        <pc:sldMkLst>
          <pc:docMk/>
          <pc:sldMk cId="355047198" sldId="1881838639"/>
        </pc:sldMkLst>
        <pc:spChg chg="add del mod">
          <ac:chgData name="Ettore Minelli" userId="7870a1ad-01cf-4239-8cce-750deae7f4ef" providerId="ADAL" clId="{97863174-A4D6-40FC-87CB-EB217C5B4254}" dt="2022-10-05T14:46:33.692" v="2272" actId="478"/>
          <ac:spMkLst>
            <pc:docMk/>
            <pc:sldMk cId="355047198" sldId="1881838639"/>
            <ac:spMk id="5" creationId="{03E6CC8A-6B27-4A9E-80A8-E373771740C6}"/>
          </ac:spMkLst>
        </pc:spChg>
        <pc:spChg chg="add del mod">
          <ac:chgData name="Ettore Minelli" userId="7870a1ad-01cf-4239-8cce-750deae7f4ef" providerId="ADAL" clId="{97863174-A4D6-40FC-87CB-EB217C5B4254}" dt="2022-10-05T16:04:33.343" v="2507" actId="478"/>
          <ac:spMkLst>
            <pc:docMk/>
            <pc:sldMk cId="355047198" sldId="1881838639"/>
            <ac:spMk id="6" creationId="{2B209496-594A-4297-BC9D-90136FB2F45D}"/>
          </ac:spMkLst>
        </pc:spChg>
        <pc:spChg chg="add del mod">
          <ac:chgData name="Ettore Minelli" userId="7870a1ad-01cf-4239-8cce-750deae7f4ef" providerId="ADAL" clId="{97863174-A4D6-40FC-87CB-EB217C5B4254}" dt="2022-10-05T14:58:32.575" v="2418" actId="478"/>
          <ac:spMkLst>
            <pc:docMk/>
            <pc:sldMk cId="355047198" sldId="1881838639"/>
            <ac:spMk id="7" creationId="{31BB4E0B-2079-4A0B-93D8-AB6B9F982A23}"/>
          </ac:spMkLst>
        </pc:spChg>
        <pc:spChg chg="add del mod">
          <ac:chgData name="Ettore Minelli" userId="7870a1ad-01cf-4239-8cce-750deae7f4ef" providerId="ADAL" clId="{97863174-A4D6-40FC-87CB-EB217C5B4254}" dt="2022-10-05T14:57:44.802" v="2414" actId="478"/>
          <ac:spMkLst>
            <pc:docMk/>
            <pc:sldMk cId="355047198" sldId="1881838639"/>
            <ac:spMk id="8" creationId="{CFAECF77-24B8-4CD6-B9AC-58E82AE3900E}"/>
          </ac:spMkLst>
        </pc:spChg>
        <pc:spChg chg="add del mod">
          <ac:chgData name="Ettore Minelli" userId="7870a1ad-01cf-4239-8cce-750deae7f4ef" providerId="ADAL" clId="{97863174-A4D6-40FC-87CB-EB217C5B4254}" dt="2022-10-05T15:02:41.475" v="2480"/>
          <ac:spMkLst>
            <pc:docMk/>
            <pc:sldMk cId="355047198" sldId="1881838639"/>
            <ac:spMk id="9" creationId="{56C62256-C712-4201-966A-27E8751183B2}"/>
          </ac:spMkLst>
        </pc:spChg>
        <pc:spChg chg="add del mod">
          <ac:chgData name="Ettore Minelli" userId="7870a1ad-01cf-4239-8cce-750deae7f4ef" providerId="ADAL" clId="{97863174-A4D6-40FC-87CB-EB217C5B4254}" dt="2022-10-05T15:00:34.978" v="2465" actId="478"/>
          <ac:spMkLst>
            <pc:docMk/>
            <pc:sldMk cId="355047198" sldId="1881838639"/>
            <ac:spMk id="10" creationId="{59ECCD43-5AC6-4560-8C20-09DEF7CF034C}"/>
          </ac:spMkLst>
        </pc:spChg>
        <pc:spChg chg="add del mod topLvl">
          <ac:chgData name="Ettore Minelli" userId="7870a1ad-01cf-4239-8cce-750deae7f4ef" providerId="ADAL" clId="{97863174-A4D6-40FC-87CB-EB217C5B4254}" dt="2022-10-05T15:02:41.475" v="2480"/>
          <ac:spMkLst>
            <pc:docMk/>
            <pc:sldMk cId="355047198" sldId="1881838639"/>
            <ac:spMk id="11" creationId="{2FDD7BC6-C10F-4008-B0CD-74840E7E6673}"/>
          </ac:spMkLst>
        </pc:spChg>
        <pc:spChg chg="mod">
          <ac:chgData name="Ettore Minelli" userId="7870a1ad-01cf-4239-8cce-750deae7f4ef" providerId="ADAL" clId="{97863174-A4D6-40FC-87CB-EB217C5B4254}" dt="2022-10-05T14:37:53.743" v="2223" actId="20577"/>
          <ac:spMkLst>
            <pc:docMk/>
            <pc:sldMk cId="355047198" sldId="1881838639"/>
            <ac:spMk id="22" creationId="{80CDE037-0580-4F71-A58C-FD65A88A0C6E}"/>
          </ac:spMkLst>
        </pc:spChg>
        <pc:spChg chg="del">
          <ac:chgData name="Ettore Minelli" userId="7870a1ad-01cf-4239-8cce-750deae7f4ef" providerId="ADAL" clId="{97863174-A4D6-40FC-87CB-EB217C5B4254}" dt="2022-10-05T14:37:14.250" v="2203" actId="478"/>
          <ac:spMkLst>
            <pc:docMk/>
            <pc:sldMk cId="355047198" sldId="1881838639"/>
            <ac:spMk id="77" creationId="{D783F838-71FF-43F3-883F-2F83CF8B595D}"/>
          </ac:spMkLst>
        </pc:spChg>
        <pc:spChg chg="del">
          <ac:chgData name="Ettore Minelli" userId="7870a1ad-01cf-4239-8cce-750deae7f4ef" providerId="ADAL" clId="{97863174-A4D6-40FC-87CB-EB217C5B4254}" dt="2022-10-05T14:37:14.250" v="2203" actId="478"/>
          <ac:spMkLst>
            <pc:docMk/>
            <pc:sldMk cId="355047198" sldId="1881838639"/>
            <ac:spMk id="79" creationId="{717085EE-A9B8-4D6B-8E5C-7DC7A2AF4B0A}"/>
          </ac:spMkLst>
        </pc:spChg>
        <pc:spChg chg="add del mod">
          <ac:chgData name="Ettore Minelli" userId="7870a1ad-01cf-4239-8cce-750deae7f4ef" providerId="ADAL" clId="{97863174-A4D6-40FC-87CB-EB217C5B4254}" dt="2022-10-05T16:04:33.343" v="2507" actId="478"/>
          <ac:spMkLst>
            <pc:docMk/>
            <pc:sldMk cId="355047198" sldId="1881838639"/>
            <ac:spMk id="80" creationId="{108D2019-CA07-4DDF-86E7-0199FD130E5B}"/>
          </ac:spMkLst>
        </pc:spChg>
        <pc:spChg chg="add del mod">
          <ac:chgData name="Ettore Minelli" userId="7870a1ad-01cf-4239-8cce-750deae7f4ef" providerId="ADAL" clId="{97863174-A4D6-40FC-87CB-EB217C5B4254}" dt="2022-10-05T14:46:18.616" v="2271" actId="478"/>
          <ac:spMkLst>
            <pc:docMk/>
            <pc:sldMk cId="355047198" sldId="1881838639"/>
            <ac:spMk id="84" creationId="{D48B730A-01A5-4565-98E3-9E6040883A91}"/>
          </ac:spMkLst>
        </pc:spChg>
        <pc:spChg chg="add del mod">
          <ac:chgData name="Ettore Minelli" userId="7870a1ad-01cf-4239-8cce-750deae7f4ef" providerId="ADAL" clId="{97863174-A4D6-40FC-87CB-EB217C5B4254}" dt="2022-10-05T14:58:34.603" v="2419" actId="478"/>
          <ac:spMkLst>
            <pc:docMk/>
            <pc:sldMk cId="355047198" sldId="1881838639"/>
            <ac:spMk id="85" creationId="{E22B0243-F3D1-4A42-973C-6345B3F1B91B}"/>
          </ac:spMkLst>
        </pc:spChg>
        <pc:spChg chg="add del mod">
          <ac:chgData name="Ettore Minelli" userId="7870a1ad-01cf-4239-8cce-750deae7f4ef" providerId="ADAL" clId="{97863174-A4D6-40FC-87CB-EB217C5B4254}" dt="2022-10-05T16:04:33.343" v="2507" actId="478"/>
          <ac:spMkLst>
            <pc:docMk/>
            <pc:sldMk cId="355047198" sldId="1881838639"/>
            <ac:spMk id="86" creationId="{7A482003-611D-4582-9C13-42D6BEDA06FF}"/>
          </ac:spMkLst>
        </pc:spChg>
        <pc:spChg chg="mod">
          <ac:chgData name="Ettore Minelli" userId="7870a1ad-01cf-4239-8cce-750deae7f4ef" providerId="ADAL" clId="{97863174-A4D6-40FC-87CB-EB217C5B4254}" dt="2022-10-05T15:00:13.376" v="2457"/>
          <ac:spMkLst>
            <pc:docMk/>
            <pc:sldMk cId="355047198" sldId="1881838639"/>
            <ac:spMk id="87" creationId="{7BBE5215-4D55-44EC-863D-7ABE464D5DF5}"/>
          </ac:spMkLst>
        </pc:spChg>
        <pc:spChg chg="add del mod topLvl">
          <ac:chgData name="Ettore Minelli" userId="7870a1ad-01cf-4239-8cce-750deae7f4ef" providerId="ADAL" clId="{97863174-A4D6-40FC-87CB-EB217C5B4254}" dt="2022-10-05T15:02:46.744" v="2481"/>
          <ac:spMkLst>
            <pc:docMk/>
            <pc:sldMk cId="355047198" sldId="1881838639"/>
            <ac:spMk id="88" creationId="{E47A0FDB-A2E0-4216-9DC4-E0C65A513DA9}"/>
          </ac:spMkLst>
        </pc:spChg>
        <pc:spChg chg="add del mod topLvl">
          <ac:chgData name="Ettore Minelli" userId="7870a1ad-01cf-4239-8cce-750deae7f4ef" providerId="ADAL" clId="{97863174-A4D6-40FC-87CB-EB217C5B4254}" dt="2022-10-05T15:02:55.618" v="2482"/>
          <ac:spMkLst>
            <pc:docMk/>
            <pc:sldMk cId="355047198" sldId="1881838639"/>
            <ac:spMk id="89" creationId="{A8860507-3961-4EE9-B741-8598287C52AE}"/>
          </ac:spMkLst>
        </pc:spChg>
        <pc:spChg chg="del mod">
          <ac:chgData name="Ettore Minelli" userId="7870a1ad-01cf-4239-8cce-750deae7f4ef" providerId="ADAL" clId="{97863174-A4D6-40FC-87CB-EB217C5B4254}" dt="2022-10-05T15:02:46.744" v="2481"/>
          <ac:spMkLst>
            <pc:docMk/>
            <pc:sldMk cId="355047198" sldId="1881838639"/>
            <ac:spMk id="91" creationId="{F3AEA711-1450-4ECB-9B64-1B8B33D393FF}"/>
          </ac:spMkLst>
        </pc:spChg>
        <pc:spChg chg="del">
          <ac:chgData name="Ettore Minelli" userId="7870a1ad-01cf-4239-8cce-750deae7f4ef" providerId="ADAL" clId="{97863174-A4D6-40FC-87CB-EB217C5B4254}" dt="2022-10-05T14:37:14.250" v="2203" actId="478"/>
          <ac:spMkLst>
            <pc:docMk/>
            <pc:sldMk cId="355047198" sldId="1881838639"/>
            <ac:spMk id="92" creationId="{F19A72A7-DB50-46C5-A4DE-80A0B2B454D9}"/>
          </ac:spMkLst>
        </pc:spChg>
        <pc:spChg chg="del mod">
          <ac:chgData name="Ettore Minelli" userId="7870a1ad-01cf-4239-8cce-750deae7f4ef" providerId="ADAL" clId="{97863174-A4D6-40FC-87CB-EB217C5B4254}" dt="2022-10-05T15:02:55.618" v="2482"/>
          <ac:spMkLst>
            <pc:docMk/>
            <pc:sldMk cId="355047198" sldId="1881838639"/>
            <ac:spMk id="93" creationId="{687421F4-00D5-403F-B682-4AE4CC09C1E0}"/>
          </ac:spMkLst>
        </pc:spChg>
        <pc:spChg chg="del mod">
          <ac:chgData name="Ettore Minelli" userId="7870a1ad-01cf-4239-8cce-750deae7f4ef" providerId="ADAL" clId="{97863174-A4D6-40FC-87CB-EB217C5B4254}" dt="2022-10-05T16:04:33.343" v="2507" actId="478"/>
          <ac:spMkLst>
            <pc:docMk/>
            <pc:sldMk cId="355047198" sldId="1881838639"/>
            <ac:spMk id="95" creationId="{24AD538F-D606-49A4-9024-EF8F9A534131}"/>
          </ac:spMkLst>
        </pc:spChg>
        <pc:spChg chg="add del mod">
          <ac:chgData name="Ettore Minelli" userId="7870a1ad-01cf-4239-8cce-750deae7f4ef" providerId="ADAL" clId="{97863174-A4D6-40FC-87CB-EB217C5B4254}" dt="2022-10-05T16:04:33.343" v="2507" actId="478"/>
          <ac:spMkLst>
            <pc:docMk/>
            <pc:sldMk cId="355047198" sldId="1881838639"/>
            <ac:spMk id="97" creationId="{C1627263-AC5D-49B5-9B45-762D281FD39B}"/>
          </ac:spMkLst>
        </pc:spChg>
        <pc:spChg chg="add del mod">
          <ac:chgData name="Ettore Minelli" userId="7870a1ad-01cf-4239-8cce-750deae7f4ef" providerId="ADAL" clId="{97863174-A4D6-40FC-87CB-EB217C5B4254}" dt="2022-10-05T16:12:46.949" v="2650" actId="164"/>
          <ac:spMkLst>
            <pc:docMk/>
            <pc:sldMk cId="355047198" sldId="1881838639"/>
            <ac:spMk id="98" creationId="{5E189F1D-193B-486E-AFC1-FA7459F6A3F4}"/>
          </ac:spMkLst>
        </pc:spChg>
        <pc:spChg chg="add mod">
          <ac:chgData name="Ettore Minelli" userId="7870a1ad-01cf-4239-8cce-750deae7f4ef" providerId="ADAL" clId="{97863174-A4D6-40FC-87CB-EB217C5B4254}" dt="2022-10-05T16:12:46.949" v="2650" actId="164"/>
          <ac:spMkLst>
            <pc:docMk/>
            <pc:sldMk cId="355047198" sldId="1881838639"/>
            <ac:spMk id="100" creationId="{C26AD4E3-C7C1-4CEE-94BC-C28387571DE3}"/>
          </ac:spMkLst>
        </pc:spChg>
        <pc:spChg chg="mod">
          <ac:chgData name="Ettore Minelli" userId="7870a1ad-01cf-4239-8cce-750deae7f4ef" providerId="ADAL" clId="{97863174-A4D6-40FC-87CB-EB217C5B4254}" dt="2022-10-05T15:04:34.355" v="2488"/>
          <ac:spMkLst>
            <pc:docMk/>
            <pc:sldMk cId="355047198" sldId="1881838639"/>
            <ac:spMk id="103" creationId="{EE9E55A6-9694-4EA1-B890-F7F002F50C0F}"/>
          </ac:spMkLst>
        </pc:spChg>
        <pc:spChg chg="mod">
          <ac:chgData name="Ettore Minelli" userId="7870a1ad-01cf-4239-8cce-750deae7f4ef" providerId="ADAL" clId="{97863174-A4D6-40FC-87CB-EB217C5B4254}" dt="2022-10-05T15:04:34.355" v="2488"/>
          <ac:spMkLst>
            <pc:docMk/>
            <pc:sldMk cId="355047198" sldId="1881838639"/>
            <ac:spMk id="105" creationId="{D43E3DD0-0E12-4E53-9DC0-58098965F6BB}"/>
          </ac:spMkLst>
        </pc:spChg>
        <pc:spChg chg="add mod">
          <ac:chgData name="Ettore Minelli" userId="7870a1ad-01cf-4239-8cce-750deae7f4ef" providerId="ADAL" clId="{97863174-A4D6-40FC-87CB-EB217C5B4254}" dt="2022-10-05T16:12:46.949" v="2650" actId="164"/>
          <ac:spMkLst>
            <pc:docMk/>
            <pc:sldMk cId="355047198" sldId="1881838639"/>
            <ac:spMk id="107" creationId="{A6812563-7B46-4027-81D8-B283604A9BF0}"/>
          </ac:spMkLst>
        </pc:spChg>
        <pc:spChg chg="del">
          <ac:chgData name="Ettore Minelli" userId="7870a1ad-01cf-4239-8cce-750deae7f4ef" providerId="ADAL" clId="{97863174-A4D6-40FC-87CB-EB217C5B4254}" dt="2022-10-05T14:37:14.250" v="2203" actId="478"/>
          <ac:spMkLst>
            <pc:docMk/>
            <pc:sldMk cId="355047198" sldId="1881838639"/>
            <ac:spMk id="108" creationId="{7D80ADE0-B05C-407A-91E8-6A3C8DF20338}"/>
          </ac:spMkLst>
        </pc:spChg>
        <pc:spChg chg="del">
          <ac:chgData name="Ettore Minelli" userId="7870a1ad-01cf-4239-8cce-750deae7f4ef" providerId="ADAL" clId="{97863174-A4D6-40FC-87CB-EB217C5B4254}" dt="2022-10-05T14:37:14.250" v="2203" actId="478"/>
          <ac:spMkLst>
            <pc:docMk/>
            <pc:sldMk cId="355047198" sldId="1881838639"/>
            <ac:spMk id="110" creationId="{05D2818D-6395-4970-B943-896EC781CAA3}"/>
          </ac:spMkLst>
        </pc:spChg>
        <pc:spChg chg="del">
          <ac:chgData name="Ettore Minelli" userId="7870a1ad-01cf-4239-8cce-750deae7f4ef" providerId="ADAL" clId="{97863174-A4D6-40FC-87CB-EB217C5B4254}" dt="2022-10-05T14:37:14.250" v="2203" actId="478"/>
          <ac:spMkLst>
            <pc:docMk/>
            <pc:sldMk cId="355047198" sldId="1881838639"/>
            <ac:spMk id="111" creationId="{2A8CA2AC-7CAA-4C2B-8D74-70B37F4E07A5}"/>
          </ac:spMkLst>
        </pc:spChg>
        <pc:spChg chg="mod">
          <ac:chgData name="Ettore Minelli" userId="7870a1ad-01cf-4239-8cce-750deae7f4ef" providerId="ADAL" clId="{97863174-A4D6-40FC-87CB-EB217C5B4254}" dt="2022-10-05T15:04:34.355" v="2488"/>
          <ac:spMkLst>
            <pc:docMk/>
            <pc:sldMk cId="355047198" sldId="1881838639"/>
            <ac:spMk id="115" creationId="{D54239E1-3E6B-431B-83CB-1917F10B7C3D}"/>
          </ac:spMkLst>
        </pc:spChg>
        <pc:spChg chg="mod">
          <ac:chgData name="Ettore Minelli" userId="7870a1ad-01cf-4239-8cce-750deae7f4ef" providerId="ADAL" clId="{97863174-A4D6-40FC-87CB-EB217C5B4254}" dt="2022-10-05T15:04:34.355" v="2488"/>
          <ac:spMkLst>
            <pc:docMk/>
            <pc:sldMk cId="355047198" sldId="1881838639"/>
            <ac:spMk id="116" creationId="{37B9EE50-9CDF-4AD9-9B1D-6205592D8BCB}"/>
          </ac:spMkLst>
        </pc:spChg>
        <pc:spChg chg="add mod">
          <ac:chgData name="Ettore Minelli" userId="7870a1ad-01cf-4239-8cce-750deae7f4ef" providerId="ADAL" clId="{97863174-A4D6-40FC-87CB-EB217C5B4254}" dt="2022-10-05T16:12:46.949" v="2650" actId="164"/>
          <ac:spMkLst>
            <pc:docMk/>
            <pc:sldMk cId="355047198" sldId="1881838639"/>
            <ac:spMk id="117" creationId="{05F45376-DC1B-465C-B818-636C8F24664A}"/>
          </ac:spMkLst>
        </pc:spChg>
        <pc:spChg chg="mod">
          <ac:chgData name="Ettore Minelli" userId="7870a1ad-01cf-4239-8cce-750deae7f4ef" providerId="ADAL" clId="{97863174-A4D6-40FC-87CB-EB217C5B4254}" dt="2022-10-05T15:04:34.355" v="2488"/>
          <ac:spMkLst>
            <pc:docMk/>
            <pc:sldMk cId="355047198" sldId="1881838639"/>
            <ac:spMk id="119" creationId="{BA7C971E-C523-4300-88A7-DA1922ABE051}"/>
          </ac:spMkLst>
        </pc:spChg>
        <pc:spChg chg="del">
          <ac:chgData name="Ettore Minelli" userId="7870a1ad-01cf-4239-8cce-750deae7f4ef" providerId="ADAL" clId="{97863174-A4D6-40FC-87CB-EB217C5B4254}" dt="2022-10-05T14:37:14.250" v="2203" actId="478"/>
          <ac:spMkLst>
            <pc:docMk/>
            <pc:sldMk cId="355047198" sldId="1881838639"/>
            <ac:spMk id="126" creationId="{DDC11022-6C23-4D73-BFB2-7643DD9614D1}"/>
          </ac:spMkLst>
        </pc:spChg>
        <pc:spChg chg="mod">
          <ac:chgData name="Ettore Minelli" userId="7870a1ad-01cf-4239-8cce-750deae7f4ef" providerId="ADAL" clId="{97863174-A4D6-40FC-87CB-EB217C5B4254}" dt="2022-10-05T15:04:34.355" v="2488"/>
          <ac:spMkLst>
            <pc:docMk/>
            <pc:sldMk cId="355047198" sldId="1881838639"/>
            <ac:spMk id="127" creationId="{BA7507D7-AED6-4C63-8AF0-00283F329B47}"/>
          </ac:spMkLst>
        </pc:spChg>
        <pc:spChg chg="del">
          <ac:chgData name="Ettore Minelli" userId="7870a1ad-01cf-4239-8cce-750deae7f4ef" providerId="ADAL" clId="{97863174-A4D6-40FC-87CB-EB217C5B4254}" dt="2022-10-05T14:37:14.250" v="2203" actId="478"/>
          <ac:spMkLst>
            <pc:docMk/>
            <pc:sldMk cId="355047198" sldId="1881838639"/>
            <ac:spMk id="128" creationId="{51682C3D-DC3E-4C4B-A740-F9CEE82B73B9}"/>
          </ac:spMkLst>
        </pc:spChg>
        <pc:spChg chg="add mod">
          <ac:chgData name="Ettore Minelli" userId="7870a1ad-01cf-4239-8cce-750deae7f4ef" providerId="ADAL" clId="{97863174-A4D6-40FC-87CB-EB217C5B4254}" dt="2022-10-05T16:13:14.225" v="2656" actId="1076"/>
          <ac:spMkLst>
            <pc:docMk/>
            <pc:sldMk cId="355047198" sldId="1881838639"/>
            <ac:spMk id="130" creationId="{24540688-978A-4F6D-837B-8657AB24F70D}"/>
          </ac:spMkLst>
        </pc:spChg>
        <pc:spChg chg="add mod">
          <ac:chgData name="Ettore Minelli" userId="7870a1ad-01cf-4239-8cce-750deae7f4ef" providerId="ADAL" clId="{97863174-A4D6-40FC-87CB-EB217C5B4254}" dt="2022-10-05T16:13:37.692" v="2673" actId="20577"/>
          <ac:spMkLst>
            <pc:docMk/>
            <pc:sldMk cId="355047198" sldId="1881838639"/>
            <ac:spMk id="131" creationId="{0F1A758B-46B9-44B6-BB40-E1F682D93E53}"/>
          </ac:spMkLst>
        </pc:spChg>
        <pc:grpChg chg="add del mod">
          <ac:chgData name="Ettore Minelli" userId="7870a1ad-01cf-4239-8cce-750deae7f4ef" providerId="ADAL" clId="{97863174-A4D6-40FC-87CB-EB217C5B4254}" dt="2022-10-05T15:02:35.427" v="2479" actId="165"/>
          <ac:grpSpMkLst>
            <pc:docMk/>
            <pc:sldMk cId="355047198" sldId="1881838639"/>
            <ac:grpSpMk id="12" creationId="{87E8205A-E11B-4A07-8F84-6F67A8B2ED01}"/>
          </ac:grpSpMkLst>
        </pc:grpChg>
        <pc:grpChg chg="add mod">
          <ac:chgData name="Ettore Minelli" userId="7870a1ad-01cf-4239-8cce-750deae7f4ef" providerId="ADAL" clId="{97863174-A4D6-40FC-87CB-EB217C5B4254}" dt="2022-10-05T16:12:59.164" v="2654" actId="14100"/>
          <ac:grpSpMkLst>
            <pc:docMk/>
            <pc:sldMk cId="355047198" sldId="1881838639"/>
            <ac:grpSpMk id="14" creationId="{E3073B18-0E99-4198-A531-BD8549B5E6E7}"/>
          </ac:grpSpMkLst>
        </pc:grpChg>
        <pc:grpChg chg="del">
          <ac:chgData name="Ettore Minelli" userId="7870a1ad-01cf-4239-8cce-750deae7f4ef" providerId="ADAL" clId="{97863174-A4D6-40FC-87CB-EB217C5B4254}" dt="2022-10-05T14:37:14.250" v="2203" actId="478"/>
          <ac:grpSpMkLst>
            <pc:docMk/>
            <pc:sldMk cId="355047198" sldId="1881838639"/>
            <ac:grpSpMk id="24" creationId="{5C11C22E-11D4-4CCE-AF07-A000C495F56F}"/>
          </ac:grpSpMkLst>
        </pc:grpChg>
        <pc:grpChg chg="add mod">
          <ac:chgData name="Ettore Minelli" userId="7870a1ad-01cf-4239-8cce-750deae7f4ef" providerId="ADAL" clId="{97863174-A4D6-40FC-87CB-EB217C5B4254}" dt="2022-10-05T16:12:46.949" v="2650" actId="164"/>
          <ac:grpSpMkLst>
            <pc:docMk/>
            <pc:sldMk cId="355047198" sldId="1881838639"/>
            <ac:grpSpMk id="102" creationId="{486218C7-E8B6-4C5F-9572-3F2D08B1A492}"/>
          </ac:grpSpMkLst>
        </pc:grpChg>
        <pc:grpChg chg="add mod">
          <ac:chgData name="Ettore Minelli" userId="7870a1ad-01cf-4239-8cce-750deae7f4ef" providerId="ADAL" clId="{97863174-A4D6-40FC-87CB-EB217C5B4254}" dt="2022-10-05T16:12:46.949" v="2650" actId="164"/>
          <ac:grpSpMkLst>
            <pc:docMk/>
            <pc:sldMk cId="355047198" sldId="1881838639"/>
            <ac:grpSpMk id="109" creationId="{FAA17393-5E46-42EB-8A35-22A3C0D36B24}"/>
          </ac:grpSpMkLst>
        </pc:grpChg>
        <pc:grpChg chg="add mod">
          <ac:chgData name="Ettore Minelli" userId="7870a1ad-01cf-4239-8cce-750deae7f4ef" providerId="ADAL" clId="{97863174-A4D6-40FC-87CB-EB217C5B4254}" dt="2022-10-05T16:12:46.949" v="2650" actId="164"/>
          <ac:grpSpMkLst>
            <pc:docMk/>
            <pc:sldMk cId="355047198" sldId="1881838639"/>
            <ac:grpSpMk id="118" creationId="{27E30FBB-D1B8-4E1C-9A79-31F13882191C}"/>
          </ac:grpSpMkLst>
        </pc:grpChg>
        <pc:grpChg chg="del">
          <ac:chgData name="Ettore Minelli" userId="7870a1ad-01cf-4239-8cce-750deae7f4ef" providerId="ADAL" clId="{97863174-A4D6-40FC-87CB-EB217C5B4254}" dt="2022-10-05T14:37:14.250" v="2203" actId="478"/>
          <ac:grpSpMkLst>
            <pc:docMk/>
            <pc:sldMk cId="355047198" sldId="1881838639"/>
            <ac:grpSpMk id="121" creationId="{FEB8AA74-79F4-4BDE-AEAA-6E1BF391AADA}"/>
          </ac:grpSpMkLst>
        </pc:grpChg>
        <pc:grpChg chg="del">
          <ac:chgData name="Ettore Minelli" userId="7870a1ad-01cf-4239-8cce-750deae7f4ef" providerId="ADAL" clId="{97863174-A4D6-40FC-87CB-EB217C5B4254}" dt="2022-10-05T14:37:14.250" v="2203" actId="478"/>
          <ac:grpSpMkLst>
            <pc:docMk/>
            <pc:sldMk cId="355047198" sldId="1881838639"/>
            <ac:grpSpMk id="123" creationId="{69E2AB20-C198-412E-9650-1960595A9FBC}"/>
          </ac:grpSpMkLst>
        </pc:grpChg>
        <pc:grpChg chg="del">
          <ac:chgData name="Ettore Minelli" userId="7870a1ad-01cf-4239-8cce-750deae7f4ef" providerId="ADAL" clId="{97863174-A4D6-40FC-87CB-EB217C5B4254}" dt="2022-10-05T14:37:14.250" v="2203" actId="478"/>
          <ac:grpSpMkLst>
            <pc:docMk/>
            <pc:sldMk cId="355047198" sldId="1881838639"/>
            <ac:grpSpMk id="125" creationId="{10A111FF-3E6E-486F-AAB0-5A23BBE25225}"/>
          </ac:grpSpMkLst>
        </pc:grpChg>
        <pc:graphicFrameChg chg="add mod modGraphic">
          <ac:chgData name="Ettore Minelli" userId="7870a1ad-01cf-4239-8cce-750deae7f4ef" providerId="ADAL" clId="{97863174-A4D6-40FC-87CB-EB217C5B4254}" dt="2022-10-05T16:13:11.020" v="2655" actId="1076"/>
          <ac:graphicFrameMkLst>
            <pc:docMk/>
            <pc:sldMk cId="355047198" sldId="1881838639"/>
            <ac:graphicFrameMk id="13" creationId="{863AA03F-39AB-4E7B-9101-239AFAE00C97}"/>
          </ac:graphicFrameMkLst>
        </pc:graphicFrameChg>
        <pc:graphicFrameChg chg="add del mod">
          <ac:chgData name="Ettore Minelli" userId="7870a1ad-01cf-4239-8cce-750deae7f4ef" providerId="ADAL" clId="{97863174-A4D6-40FC-87CB-EB217C5B4254}" dt="2022-10-05T16:04:33.343" v="2507" actId="478"/>
          <ac:graphicFrameMkLst>
            <pc:docMk/>
            <pc:sldMk cId="355047198" sldId="1881838639"/>
            <ac:graphicFrameMk id="129" creationId="{62CCE8B2-3694-49C7-8822-2D82AA8FE153}"/>
          </ac:graphicFrameMkLst>
        </pc:graphicFrameChg>
        <pc:cxnChg chg="del">
          <ac:chgData name="Ettore Minelli" userId="7870a1ad-01cf-4239-8cce-750deae7f4ef" providerId="ADAL" clId="{97863174-A4D6-40FC-87CB-EB217C5B4254}" dt="2022-10-05T14:37:14.250" v="2203" actId="478"/>
          <ac:cxnSpMkLst>
            <pc:docMk/>
            <pc:sldMk cId="355047198" sldId="1881838639"/>
            <ac:cxnSpMk id="81" creationId="{85C4FC41-05A5-4E91-A5D4-3B68D7739CD4}"/>
          </ac:cxnSpMkLst>
        </pc:cxnChg>
      </pc:sldChg>
      <pc:sldChg chg="add del">
        <pc:chgData name="Ettore Minelli" userId="7870a1ad-01cf-4239-8cce-750deae7f4ef" providerId="ADAL" clId="{97863174-A4D6-40FC-87CB-EB217C5B4254}" dt="2022-10-05T14:13:08.086" v="2034"/>
        <pc:sldMkLst>
          <pc:docMk/>
          <pc:sldMk cId="2049653753" sldId="1881838639"/>
        </pc:sldMkLst>
      </pc:sldChg>
      <pc:sldChg chg="addSp delSp modSp add del mod">
        <pc:chgData name="Ettore Minelli" userId="7870a1ad-01cf-4239-8cce-750deae7f4ef" providerId="ADAL" clId="{97863174-A4D6-40FC-87CB-EB217C5B4254}" dt="2022-10-05T16:52:21.437" v="3271" actId="47"/>
        <pc:sldMkLst>
          <pc:docMk/>
          <pc:sldMk cId="1706348426" sldId="1881838640"/>
        </pc:sldMkLst>
        <pc:spChg chg="del">
          <ac:chgData name="Ettore Minelli" userId="7870a1ad-01cf-4239-8cce-750deae7f4ef" providerId="ADAL" clId="{97863174-A4D6-40FC-87CB-EB217C5B4254}" dt="2022-10-05T16:14:25.782" v="2675" actId="478"/>
          <ac:spMkLst>
            <pc:docMk/>
            <pc:sldMk cId="1706348426" sldId="1881838640"/>
            <ac:spMk id="130" creationId="{24540688-978A-4F6D-837B-8657AB24F70D}"/>
          </ac:spMkLst>
        </pc:spChg>
        <pc:spChg chg="del">
          <ac:chgData name="Ettore Minelli" userId="7870a1ad-01cf-4239-8cce-750deae7f4ef" providerId="ADAL" clId="{97863174-A4D6-40FC-87CB-EB217C5B4254}" dt="2022-10-05T16:14:26.832" v="2676" actId="478"/>
          <ac:spMkLst>
            <pc:docMk/>
            <pc:sldMk cId="1706348426" sldId="1881838640"/>
            <ac:spMk id="131" creationId="{0F1A758B-46B9-44B6-BB40-E1F682D93E53}"/>
          </ac:spMkLst>
        </pc:spChg>
        <pc:graphicFrameChg chg="mod modGraphic">
          <ac:chgData name="Ettore Minelli" userId="7870a1ad-01cf-4239-8cce-750deae7f4ef" providerId="ADAL" clId="{97863174-A4D6-40FC-87CB-EB217C5B4254}" dt="2022-10-05T16:21:27.587" v="2894" actId="20577"/>
          <ac:graphicFrameMkLst>
            <pc:docMk/>
            <pc:sldMk cId="1706348426" sldId="1881838640"/>
            <ac:graphicFrameMk id="13" creationId="{863AA03F-39AB-4E7B-9101-239AFAE00C97}"/>
          </ac:graphicFrameMkLst>
        </pc:graphicFrameChg>
        <pc:graphicFrameChg chg="add del mod">
          <ac:chgData name="Ettore Minelli" userId="7870a1ad-01cf-4239-8cce-750deae7f4ef" providerId="ADAL" clId="{97863174-A4D6-40FC-87CB-EB217C5B4254}" dt="2022-10-05T16:21:46.010" v="2896"/>
          <ac:graphicFrameMkLst>
            <pc:docMk/>
            <pc:sldMk cId="1706348426" sldId="1881838640"/>
            <ac:graphicFrameMk id="51" creationId="{564DBB2F-AAAC-4B6A-9DFD-DD97E07FD3AB}"/>
          </ac:graphicFrameMkLst>
        </pc:graphicFrameChg>
      </pc:sldChg>
      <pc:sldChg chg="addSp delSp modSp add del mod">
        <pc:chgData name="Ettore Minelli" userId="7870a1ad-01cf-4239-8cce-750deae7f4ef" providerId="ADAL" clId="{97863174-A4D6-40FC-87CB-EB217C5B4254}" dt="2022-10-05T17:02:12.926" v="3521" actId="47"/>
        <pc:sldMkLst>
          <pc:docMk/>
          <pc:sldMk cId="1628033471" sldId="1881838641"/>
        </pc:sldMkLst>
        <pc:spChg chg="mod">
          <ac:chgData name="Ettore Minelli" userId="7870a1ad-01cf-4239-8cce-750deae7f4ef" providerId="ADAL" clId="{97863174-A4D6-40FC-87CB-EB217C5B4254}" dt="2022-10-05T16:58:40.470" v="3516" actId="6549"/>
          <ac:spMkLst>
            <pc:docMk/>
            <pc:sldMk cId="1628033471" sldId="1881838641"/>
            <ac:spMk id="2" creationId="{87A4E177-908D-403C-85A7-D808653C1A8F}"/>
          </ac:spMkLst>
        </pc:spChg>
        <pc:grpChg chg="del">
          <ac:chgData name="Ettore Minelli" userId="7870a1ad-01cf-4239-8cce-750deae7f4ef" providerId="ADAL" clId="{97863174-A4D6-40FC-87CB-EB217C5B4254}" dt="2022-10-05T16:52:31.881" v="3272" actId="478"/>
          <ac:grpSpMkLst>
            <pc:docMk/>
            <pc:sldMk cId="1628033471" sldId="1881838641"/>
            <ac:grpSpMk id="14" creationId="{E3073B18-0E99-4198-A531-BD8549B5E6E7}"/>
          </ac:grpSpMkLst>
        </pc:grpChg>
        <pc:graphicFrameChg chg="add del mod">
          <ac:chgData name="Ettore Minelli" userId="7870a1ad-01cf-4239-8cce-750deae7f4ef" providerId="ADAL" clId="{97863174-A4D6-40FC-87CB-EB217C5B4254}" dt="2022-10-05T16:22:59.043" v="2908"/>
          <ac:graphicFrameMkLst>
            <pc:docMk/>
            <pc:sldMk cId="1628033471" sldId="1881838641"/>
            <ac:graphicFrameMk id="5" creationId="{3D790186-51F9-4710-8DD2-9149C4881060}"/>
          </ac:graphicFrameMkLst>
        </pc:graphicFrameChg>
        <pc:graphicFrameChg chg="mod modGraphic">
          <ac:chgData name="Ettore Minelli" userId="7870a1ad-01cf-4239-8cce-750deae7f4ef" providerId="ADAL" clId="{97863174-A4D6-40FC-87CB-EB217C5B4254}" dt="2022-10-05T16:25:50.705" v="2943" actId="122"/>
          <ac:graphicFrameMkLst>
            <pc:docMk/>
            <pc:sldMk cId="1628033471" sldId="1881838641"/>
            <ac:graphicFrameMk id="13" creationId="{863AA03F-39AB-4E7B-9101-239AFAE00C97}"/>
          </ac:graphicFrameMkLst>
        </pc:graphicFrameChg>
      </pc:sldChg>
      <pc:sldChg chg="addSp delSp modSp add mod">
        <pc:chgData name="Ettore Minelli" userId="7870a1ad-01cf-4239-8cce-750deae7f4ef" providerId="ADAL" clId="{97863174-A4D6-40FC-87CB-EB217C5B4254}" dt="2022-10-05T17:26:55.698" v="3740"/>
        <pc:sldMkLst>
          <pc:docMk/>
          <pc:sldMk cId="463850191" sldId="1881838642"/>
        </pc:sldMkLst>
        <pc:spChg chg="mod">
          <ac:chgData name="Ettore Minelli" userId="7870a1ad-01cf-4239-8cce-750deae7f4ef" providerId="ADAL" clId="{97863174-A4D6-40FC-87CB-EB217C5B4254}" dt="2022-10-05T16:58:29.557" v="3511" actId="20577"/>
          <ac:spMkLst>
            <pc:docMk/>
            <pc:sldMk cId="463850191" sldId="1881838642"/>
            <ac:spMk id="2" creationId="{87A4E177-908D-403C-85A7-D808653C1A8F}"/>
          </ac:spMkLst>
        </pc:spChg>
        <pc:spChg chg="mod topLvl">
          <ac:chgData name="Ettore Minelli" userId="7870a1ad-01cf-4239-8cce-750deae7f4ef" providerId="ADAL" clId="{97863174-A4D6-40FC-87CB-EB217C5B4254}" dt="2022-10-05T17:17:56.784" v="3669" actId="255"/>
          <ac:spMkLst>
            <pc:docMk/>
            <pc:sldMk cId="463850191" sldId="1881838642"/>
            <ac:spMk id="50" creationId="{B1512086-8C28-485A-BDCA-7366D3492802}"/>
          </ac:spMkLst>
        </pc:spChg>
        <pc:spChg chg="del mod topLvl">
          <ac:chgData name="Ettore Minelli" userId="7870a1ad-01cf-4239-8cce-750deae7f4ef" providerId="ADAL" clId="{97863174-A4D6-40FC-87CB-EB217C5B4254}" dt="2022-10-05T16:36:21.597" v="2992" actId="478"/>
          <ac:spMkLst>
            <pc:docMk/>
            <pc:sldMk cId="463850191" sldId="1881838642"/>
            <ac:spMk id="51" creationId="{33BE10F9-A9D3-497F-8BEF-503B8C63EEEB}"/>
          </ac:spMkLst>
        </pc:spChg>
        <pc:spChg chg="add del mod topLvl">
          <ac:chgData name="Ettore Minelli" userId="7870a1ad-01cf-4239-8cce-750deae7f4ef" providerId="ADAL" clId="{97863174-A4D6-40FC-87CB-EB217C5B4254}" dt="2022-10-05T17:18:51.849" v="3678" actId="20577"/>
          <ac:spMkLst>
            <pc:docMk/>
            <pc:sldMk cId="463850191" sldId="1881838642"/>
            <ac:spMk id="80" creationId="{D2EBD058-AE68-4525-A5EC-CC532DF58693}"/>
          </ac:spMkLst>
        </pc:spChg>
        <pc:spChg chg="add del mod topLvl">
          <ac:chgData name="Ettore Minelli" userId="7870a1ad-01cf-4239-8cce-750deae7f4ef" providerId="ADAL" clId="{97863174-A4D6-40FC-87CB-EB217C5B4254}" dt="2022-10-05T16:46:49.589" v="3248" actId="478"/>
          <ac:spMkLst>
            <pc:docMk/>
            <pc:sldMk cId="463850191" sldId="1881838642"/>
            <ac:spMk id="81" creationId="{D82ACE09-FCAC-4FE7-8760-16D1B8EF37C0}"/>
          </ac:spMkLst>
        </pc:spChg>
        <pc:spChg chg="mod topLvl">
          <ac:chgData name="Ettore Minelli" userId="7870a1ad-01cf-4239-8cce-750deae7f4ef" providerId="ADAL" clId="{97863174-A4D6-40FC-87CB-EB217C5B4254}" dt="2022-10-05T17:17:56.784" v="3669" actId="255"/>
          <ac:spMkLst>
            <pc:docMk/>
            <pc:sldMk cId="463850191" sldId="1881838642"/>
            <ac:spMk id="84" creationId="{35BF442F-3492-4CC6-BBAC-A15222EF042E}"/>
          </ac:spMkLst>
        </pc:spChg>
        <pc:spChg chg="del mod topLvl">
          <ac:chgData name="Ettore Minelli" userId="7870a1ad-01cf-4239-8cce-750deae7f4ef" providerId="ADAL" clId="{97863174-A4D6-40FC-87CB-EB217C5B4254}" dt="2022-10-05T16:46:54.788" v="3250" actId="478"/>
          <ac:spMkLst>
            <pc:docMk/>
            <pc:sldMk cId="463850191" sldId="1881838642"/>
            <ac:spMk id="85" creationId="{7BAFF341-ABCF-426E-A8B2-E3CDBCB2B115}"/>
          </ac:spMkLst>
        </pc:spChg>
        <pc:spChg chg="add mod topLvl">
          <ac:chgData name="Ettore Minelli" userId="7870a1ad-01cf-4239-8cce-750deae7f4ef" providerId="ADAL" clId="{97863174-A4D6-40FC-87CB-EB217C5B4254}" dt="2022-10-05T17:17:11.398" v="3664" actId="164"/>
          <ac:spMkLst>
            <pc:docMk/>
            <pc:sldMk cId="463850191" sldId="1881838642"/>
            <ac:spMk id="87" creationId="{28476EF7-7571-48F7-AF34-DDBBE23E0CEC}"/>
          </ac:spMkLst>
        </pc:spChg>
        <pc:spChg chg="mod">
          <ac:chgData name="Ettore Minelli" userId="7870a1ad-01cf-4239-8cce-750deae7f4ef" providerId="ADAL" clId="{97863174-A4D6-40FC-87CB-EB217C5B4254}" dt="2022-10-05T16:30:34.704" v="2960" actId="20577"/>
          <ac:spMkLst>
            <pc:docMk/>
            <pc:sldMk cId="463850191" sldId="1881838642"/>
            <ac:spMk id="98" creationId="{5E189F1D-193B-486E-AFC1-FA7459F6A3F4}"/>
          </ac:spMkLst>
        </pc:spChg>
        <pc:spChg chg="mod">
          <ac:chgData name="Ettore Minelli" userId="7870a1ad-01cf-4239-8cce-750deae7f4ef" providerId="ADAL" clId="{97863174-A4D6-40FC-87CB-EB217C5B4254}" dt="2022-10-05T16:30:01.268" v="2956" actId="255"/>
          <ac:spMkLst>
            <pc:docMk/>
            <pc:sldMk cId="463850191" sldId="1881838642"/>
            <ac:spMk id="100" creationId="{C26AD4E3-C7C1-4CEE-94BC-C28387571DE3}"/>
          </ac:spMkLst>
        </pc:spChg>
        <pc:spChg chg="del mod">
          <ac:chgData name="Ettore Minelli" userId="7870a1ad-01cf-4239-8cce-750deae7f4ef" providerId="ADAL" clId="{97863174-A4D6-40FC-87CB-EB217C5B4254}" dt="2022-10-05T16:30:59.444" v="2962" actId="478"/>
          <ac:spMkLst>
            <pc:docMk/>
            <pc:sldMk cId="463850191" sldId="1881838642"/>
            <ac:spMk id="103" creationId="{EE9E55A6-9694-4EA1-B890-F7F002F50C0F}"/>
          </ac:spMkLst>
        </pc:spChg>
        <pc:spChg chg="mod">
          <ac:chgData name="Ettore Minelli" userId="7870a1ad-01cf-4239-8cce-750deae7f4ef" providerId="ADAL" clId="{97863174-A4D6-40FC-87CB-EB217C5B4254}" dt="2022-10-05T16:31:00.762" v="2963" actId="6549"/>
          <ac:spMkLst>
            <pc:docMk/>
            <pc:sldMk cId="463850191" sldId="1881838642"/>
            <ac:spMk id="105" creationId="{D43E3DD0-0E12-4E53-9DC0-58098965F6BB}"/>
          </ac:spMkLst>
        </pc:spChg>
        <pc:spChg chg="mod">
          <ac:chgData name="Ettore Minelli" userId="7870a1ad-01cf-4239-8cce-750deae7f4ef" providerId="ADAL" clId="{97863174-A4D6-40FC-87CB-EB217C5B4254}" dt="2022-10-05T16:30:01.268" v="2956" actId="255"/>
          <ac:spMkLst>
            <pc:docMk/>
            <pc:sldMk cId="463850191" sldId="1881838642"/>
            <ac:spMk id="107" creationId="{A6812563-7B46-4027-81D8-B283604A9BF0}"/>
          </ac:spMkLst>
        </pc:spChg>
        <pc:spChg chg="mod">
          <ac:chgData name="Ettore Minelli" userId="7870a1ad-01cf-4239-8cce-750deae7f4ef" providerId="ADAL" clId="{97863174-A4D6-40FC-87CB-EB217C5B4254}" dt="2022-10-05T16:30:01.268" v="2956" actId="255"/>
          <ac:spMkLst>
            <pc:docMk/>
            <pc:sldMk cId="463850191" sldId="1881838642"/>
            <ac:spMk id="115" creationId="{D54239E1-3E6B-431B-83CB-1917F10B7C3D}"/>
          </ac:spMkLst>
        </pc:spChg>
        <pc:spChg chg="mod">
          <ac:chgData name="Ettore Minelli" userId="7870a1ad-01cf-4239-8cce-750deae7f4ef" providerId="ADAL" clId="{97863174-A4D6-40FC-87CB-EB217C5B4254}" dt="2022-10-05T16:30:01.268" v="2956" actId="255"/>
          <ac:spMkLst>
            <pc:docMk/>
            <pc:sldMk cId="463850191" sldId="1881838642"/>
            <ac:spMk id="116" creationId="{37B9EE50-9CDF-4AD9-9B1D-6205592D8BCB}"/>
          </ac:spMkLst>
        </pc:spChg>
        <pc:spChg chg="mod">
          <ac:chgData name="Ettore Minelli" userId="7870a1ad-01cf-4239-8cce-750deae7f4ef" providerId="ADAL" clId="{97863174-A4D6-40FC-87CB-EB217C5B4254}" dt="2022-10-05T16:30:01.268" v="2956" actId="255"/>
          <ac:spMkLst>
            <pc:docMk/>
            <pc:sldMk cId="463850191" sldId="1881838642"/>
            <ac:spMk id="117" creationId="{05F45376-DC1B-465C-B818-636C8F24664A}"/>
          </ac:spMkLst>
        </pc:spChg>
        <pc:spChg chg="mod">
          <ac:chgData name="Ettore Minelli" userId="7870a1ad-01cf-4239-8cce-750deae7f4ef" providerId="ADAL" clId="{97863174-A4D6-40FC-87CB-EB217C5B4254}" dt="2022-10-05T16:30:01.268" v="2956" actId="255"/>
          <ac:spMkLst>
            <pc:docMk/>
            <pc:sldMk cId="463850191" sldId="1881838642"/>
            <ac:spMk id="119" creationId="{BA7C971E-C523-4300-88A7-DA1922ABE051}"/>
          </ac:spMkLst>
        </pc:spChg>
        <pc:spChg chg="mod">
          <ac:chgData name="Ettore Minelli" userId="7870a1ad-01cf-4239-8cce-750deae7f4ef" providerId="ADAL" clId="{97863174-A4D6-40FC-87CB-EB217C5B4254}" dt="2022-10-05T16:30:01.268" v="2956" actId="255"/>
          <ac:spMkLst>
            <pc:docMk/>
            <pc:sldMk cId="463850191" sldId="1881838642"/>
            <ac:spMk id="127" creationId="{BA7507D7-AED6-4C63-8AF0-00283F329B47}"/>
          </ac:spMkLst>
        </pc:spChg>
        <pc:grpChg chg="add del mod">
          <ac:chgData name="Ettore Minelli" userId="7870a1ad-01cf-4239-8cce-750deae7f4ef" providerId="ADAL" clId="{97863174-A4D6-40FC-87CB-EB217C5B4254}" dt="2022-10-05T17:16:38.922" v="3649" actId="165"/>
          <ac:grpSpMkLst>
            <pc:docMk/>
            <pc:sldMk cId="463850191" sldId="1881838642"/>
            <ac:grpSpMk id="5" creationId="{542B3549-F30A-4832-8DFE-D11515C88FE1}"/>
          </ac:grpSpMkLst>
        </pc:grpChg>
        <pc:grpChg chg="add del mod">
          <ac:chgData name="Ettore Minelli" userId="7870a1ad-01cf-4239-8cce-750deae7f4ef" providerId="ADAL" clId="{97863174-A4D6-40FC-87CB-EB217C5B4254}" dt="2022-10-05T16:36:11.698" v="2989" actId="165"/>
          <ac:grpSpMkLst>
            <pc:docMk/>
            <pc:sldMk cId="463850191" sldId="1881838642"/>
            <ac:grpSpMk id="6" creationId="{68EE4EA9-CB61-4E4B-B56D-2EA8574C4E79}"/>
          </ac:grpSpMkLst>
        </pc:grpChg>
        <pc:grpChg chg="add mod">
          <ac:chgData name="Ettore Minelli" userId="7870a1ad-01cf-4239-8cce-750deae7f4ef" providerId="ADAL" clId="{97863174-A4D6-40FC-87CB-EB217C5B4254}" dt="2022-10-05T17:18:34.306" v="3672" actId="12788"/>
          <ac:grpSpMkLst>
            <pc:docMk/>
            <pc:sldMk cId="463850191" sldId="1881838642"/>
            <ac:grpSpMk id="6" creationId="{8BB8DA37-2E38-40E9-A750-7C1E12FE5D63}"/>
          </ac:grpSpMkLst>
        </pc:grpChg>
        <pc:grpChg chg="del">
          <ac:chgData name="Ettore Minelli" userId="7870a1ad-01cf-4239-8cce-750deae7f4ef" providerId="ADAL" clId="{97863174-A4D6-40FC-87CB-EB217C5B4254}" dt="2022-10-05T16:31:03.051" v="2964" actId="478"/>
          <ac:grpSpMkLst>
            <pc:docMk/>
            <pc:sldMk cId="463850191" sldId="1881838642"/>
            <ac:grpSpMk id="14" creationId="{E3073B18-0E99-4198-A531-BD8549B5E6E7}"/>
          </ac:grpSpMkLst>
        </pc:grpChg>
        <pc:grpChg chg="add del mod topLvl">
          <ac:chgData name="Ettore Minelli" userId="7870a1ad-01cf-4239-8cce-750deae7f4ef" providerId="ADAL" clId="{97863174-A4D6-40FC-87CB-EB217C5B4254}" dt="2022-10-05T16:36:15.568" v="2990" actId="165"/>
          <ac:grpSpMkLst>
            <pc:docMk/>
            <pc:sldMk cId="463850191" sldId="1881838642"/>
            <ac:grpSpMk id="49" creationId="{A28064BF-FBBB-44DA-9187-C9E07BE0124F}"/>
          </ac:grpSpMkLst>
        </pc:grpChg>
        <pc:grpChg chg="add del mod topLvl">
          <ac:chgData name="Ettore Minelli" userId="7870a1ad-01cf-4239-8cce-750deae7f4ef" providerId="ADAL" clId="{97863174-A4D6-40FC-87CB-EB217C5B4254}" dt="2022-10-05T16:46:42.198" v="3245" actId="165"/>
          <ac:grpSpMkLst>
            <pc:docMk/>
            <pc:sldMk cId="463850191" sldId="1881838642"/>
            <ac:grpSpMk id="79" creationId="{30BB527A-AAD0-4007-B4EA-FD5D317B8C3D}"/>
          </ac:grpSpMkLst>
        </pc:grpChg>
        <pc:grpChg chg="add del mod topLvl">
          <ac:chgData name="Ettore Minelli" userId="7870a1ad-01cf-4239-8cce-750deae7f4ef" providerId="ADAL" clId="{97863174-A4D6-40FC-87CB-EB217C5B4254}" dt="2022-10-05T16:46:52.598" v="3249" actId="165"/>
          <ac:grpSpMkLst>
            <pc:docMk/>
            <pc:sldMk cId="463850191" sldId="1881838642"/>
            <ac:grpSpMk id="83" creationId="{B4E7B886-58B5-4951-A177-1A74BBF9568C}"/>
          </ac:grpSpMkLst>
        </pc:grpChg>
        <pc:grpChg chg="del">
          <ac:chgData name="Ettore Minelli" userId="7870a1ad-01cf-4239-8cce-750deae7f4ef" providerId="ADAL" clId="{97863174-A4D6-40FC-87CB-EB217C5B4254}" dt="2022-10-05T16:30:59.444" v="2962" actId="478"/>
          <ac:grpSpMkLst>
            <pc:docMk/>
            <pc:sldMk cId="463850191" sldId="1881838642"/>
            <ac:grpSpMk id="102" creationId="{486218C7-E8B6-4C5F-9572-3F2D08B1A492}"/>
          </ac:grpSpMkLst>
        </pc:grpChg>
        <pc:graphicFrameChg chg="add del mod modGraphic">
          <ac:chgData name="Ettore Minelli" userId="7870a1ad-01cf-4239-8cce-750deae7f4ef" providerId="ADAL" clId="{97863174-A4D6-40FC-87CB-EB217C5B4254}" dt="2022-10-05T16:34:59.900" v="2974" actId="478"/>
          <ac:graphicFrameMkLst>
            <pc:docMk/>
            <pc:sldMk cId="463850191" sldId="1881838642"/>
            <ac:graphicFrameMk id="5" creationId="{C605F503-DCB4-484D-893E-FCE3342A8CEC}"/>
          </ac:graphicFrameMkLst>
        </pc:graphicFrameChg>
        <pc:graphicFrameChg chg="del mod modGraphic">
          <ac:chgData name="Ettore Minelli" userId="7870a1ad-01cf-4239-8cce-750deae7f4ef" providerId="ADAL" clId="{97863174-A4D6-40FC-87CB-EB217C5B4254}" dt="2022-10-05T17:07:13.965" v="3556" actId="478"/>
          <ac:graphicFrameMkLst>
            <pc:docMk/>
            <pc:sldMk cId="463850191" sldId="1881838642"/>
            <ac:graphicFrameMk id="13" creationId="{863AA03F-39AB-4E7B-9101-239AFAE00C97}"/>
          </ac:graphicFrameMkLst>
        </pc:graphicFrameChg>
        <pc:graphicFrameChg chg="add mod modGraphic">
          <ac:chgData name="Ettore Minelli" userId="7870a1ad-01cf-4239-8cce-750deae7f4ef" providerId="ADAL" clId="{97863174-A4D6-40FC-87CB-EB217C5B4254}" dt="2022-10-05T17:26:55.698" v="3740"/>
          <ac:graphicFrameMkLst>
            <pc:docMk/>
            <pc:sldMk cId="463850191" sldId="1881838642"/>
            <ac:graphicFrameMk id="41" creationId="{FA6A151E-3514-4DC2-AC87-A8EB77E4D9DE}"/>
          </ac:graphicFrameMkLst>
        </pc:graphicFrameChg>
        <pc:picChg chg="del mod topLvl">
          <ac:chgData name="Ettore Minelli" userId="7870a1ad-01cf-4239-8cce-750deae7f4ef" providerId="ADAL" clId="{97863174-A4D6-40FC-87CB-EB217C5B4254}" dt="2022-10-05T16:36:17.557" v="2991" actId="478"/>
          <ac:picMkLst>
            <pc:docMk/>
            <pc:sldMk cId="463850191" sldId="1881838642"/>
            <ac:picMk id="77" creationId="{08A41159-CEF5-4577-84B5-622D25E11045}"/>
          </ac:picMkLst>
        </pc:picChg>
        <pc:picChg chg="add del mod topLvl">
          <ac:chgData name="Ettore Minelli" userId="7870a1ad-01cf-4239-8cce-750deae7f4ef" providerId="ADAL" clId="{97863174-A4D6-40FC-87CB-EB217C5B4254}" dt="2022-10-05T16:46:49.589" v="3248" actId="478"/>
          <ac:picMkLst>
            <pc:docMk/>
            <pc:sldMk cId="463850191" sldId="1881838642"/>
            <ac:picMk id="82" creationId="{A147E754-D424-4661-983F-76AA208CA392}"/>
          </ac:picMkLst>
        </pc:picChg>
        <pc:picChg chg="del mod topLvl">
          <ac:chgData name="Ettore Minelli" userId="7870a1ad-01cf-4239-8cce-750deae7f4ef" providerId="ADAL" clId="{97863174-A4D6-40FC-87CB-EB217C5B4254}" dt="2022-10-05T16:46:54.788" v="3250" actId="478"/>
          <ac:picMkLst>
            <pc:docMk/>
            <pc:sldMk cId="463850191" sldId="1881838642"/>
            <ac:picMk id="86" creationId="{B2FB6AFD-74F4-4786-B88B-36354E8A2762}"/>
          </ac:picMkLst>
        </pc:picChg>
      </pc:sldChg>
      <pc:sldChg chg="delSp modSp add del mod">
        <pc:chgData name="Ettore Minelli" userId="7870a1ad-01cf-4239-8cce-750deae7f4ef" providerId="ADAL" clId="{97863174-A4D6-40FC-87CB-EB217C5B4254}" dt="2022-10-05T17:02:12.926" v="3521" actId="47"/>
        <pc:sldMkLst>
          <pc:docMk/>
          <pc:sldMk cId="1252381535" sldId="1881838643"/>
        </pc:sldMkLst>
        <pc:spChg chg="mod">
          <ac:chgData name="Ettore Minelli" userId="7870a1ad-01cf-4239-8cce-750deae7f4ef" providerId="ADAL" clId="{97863174-A4D6-40FC-87CB-EB217C5B4254}" dt="2022-10-05T16:58:43.995" v="3517"/>
          <ac:spMkLst>
            <pc:docMk/>
            <pc:sldMk cId="1252381535" sldId="1881838643"/>
            <ac:spMk id="2" creationId="{87A4E177-908D-403C-85A7-D808653C1A8F}"/>
          </ac:spMkLst>
        </pc:spChg>
        <pc:grpChg chg="del">
          <ac:chgData name="Ettore Minelli" userId="7870a1ad-01cf-4239-8cce-750deae7f4ef" providerId="ADAL" clId="{97863174-A4D6-40FC-87CB-EB217C5B4254}" dt="2022-10-05T16:52:34.825" v="3273" actId="478"/>
          <ac:grpSpMkLst>
            <pc:docMk/>
            <pc:sldMk cId="1252381535" sldId="1881838643"/>
            <ac:grpSpMk id="14" creationId="{E3073B18-0E99-4198-A531-BD8549B5E6E7}"/>
          </ac:grpSpMkLst>
        </pc:grpChg>
        <pc:graphicFrameChg chg="mod">
          <ac:chgData name="Ettore Minelli" userId="7870a1ad-01cf-4239-8cce-750deae7f4ef" providerId="ADAL" clId="{97863174-A4D6-40FC-87CB-EB217C5B4254}" dt="2022-10-05T16:29:41.857" v="2955"/>
          <ac:graphicFrameMkLst>
            <pc:docMk/>
            <pc:sldMk cId="1252381535" sldId="1881838643"/>
            <ac:graphicFrameMk id="13" creationId="{863AA03F-39AB-4E7B-9101-239AFAE00C97}"/>
          </ac:graphicFrameMkLst>
        </pc:graphicFrameChg>
      </pc:sldChg>
      <pc:sldChg chg="delSp modSp add del mod">
        <pc:chgData name="Ettore Minelli" userId="7870a1ad-01cf-4239-8cce-750deae7f4ef" providerId="ADAL" clId="{97863174-A4D6-40FC-87CB-EB217C5B4254}" dt="2022-10-05T17:02:08" v="3520" actId="47"/>
        <pc:sldMkLst>
          <pc:docMk/>
          <pc:sldMk cId="970508122" sldId="1881838644"/>
        </pc:sldMkLst>
        <pc:spChg chg="mod">
          <ac:chgData name="Ettore Minelli" userId="7870a1ad-01cf-4239-8cce-750deae7f4ef" providerId="ADAL" clId="{97863174-A4D6-40FC-87CB-EB217C5B4254}" dt="2022-10-05T16:58:48.144" v="3518"/>
          <ac:spMkLst>
            <pc:docMk/>
            <pc:sldMk cId="970508122" sldId="1881838644"/>
            <ac:spMk id="2" creationId="{87A4E177-908D-403C-85A7-D808653C1A8F}"/>
          </ac:spMkLst>
        </pc:spChg>
        <pc:spChg chg="mod">
          <ac:chgData name="Ettore Minelli" userId="7870a1ad-01cf-4239-8cce-750deae7f4ef" providerId="ADAL" clId="{97863174-A4D6-40FC-87CB-EB217C5B4254}" dt="2022-10-05T16:49:32.465" v="3266" actId="255"/>
          <ac:spMkLst>
            <pc:docMk/>
            <pc:sldMk cId="970508122" sldId="1881838644"/>
            <ac:spMk id="50" creationId="{B1512086-8C28-485A-BDCA-7366D3492802}"/>
          </ac:spMkLst>
        </pc:spChg>
        <pc:spChg chg="del">
          <ac:chgData name="Ettore Minelli" userId="7870a1ad-01cf-4239-8cce-750deae7f4ef" providerId="ADAL" clId="{97863174-A4D6-40FC-87CB-EB217C5B4254}" dt="2022-10-05T16:49:16.855" v="3263" actId="478"/>
          <ac:spMkLst>
            <pc:docMk/>
            <pc:sldMk cId="970508122" sldId="1881838644"/>
            <ac:spMk id="80" creationId="{D2EBD058-AE68-4525-A5EC-CC532DF58693}"/>
          </ac:spMkLst>
        </pc:spChg>
        <pc:spChg chg="del">
          <ac:chgData name="Ettore Minelli" userId="7870a1ad-01cf-4239-8cce-750deae7f4ef" providerId="ADAL" clId="{97863174-A4D6-40FC-87CB-EB217C5B4254}" dt="2022-10-05T16:49:17.619" v="3264" actId="478"/>
          <ac:spMkLst>
            <pc:docMk/>
            <pc:sldMk cId="970508122" sldId="1881838644"/>
            <ac:spMk id="84" creationId="{35BF442F-3492-4CC6-BBAC-A15222EF042E}"/>
          </ac:spMkLst>
        </pc:spChg>
        <pc:spChg chg="mod">
          <ac:chgData name="Ettore Minelli" userId="7870a1ad-01cf-4239-8cce-750deae7f4ef" providerId="ADAL" clId="{97863174-A4D6-40FC-87CB-EB217C5B4254}" dt="2022-10-05T16:49:51.753" v="3267" actId="120"/>
          <ac:spMkLst>
            <pc:docMk/>
            <pc:sldMk cId="970508122" sldId="1881838644"/>
            <ac:spMk id="87" creationId="{28476EF7-7571-48F7-AF34-DDBBE23E0CEC}"/>
          </ac:spMkLst>
        </pc:spChg>
        <pc:graphicFrameChg chg="mod">
          <ac:chgData name="Ettore Minelli" userId="7870a1ad-01cf-4239-8cce-750deae7f4ef" providerId="ADAL" clId="{97863174-A4D6-40FC-87CB-EB217C5B4254}" dt="2022-10-05T16:59:54.579" v="3519"/>
          <ac:graphicFrameMkLst>
            <pc:docMk/>
            <pc:sldMk cId="970508122" sldId="1881838644"/>
            <ac:graphicFrameMk id="13" creationId="{863AA03F-39AB-4E7B-9101-239AFAE00C97}"/>
          </ac:graphicFrameMkLst>
        </pc:graphicFrameChg>
      </pc:sldChg>
      <pc:sldMasterChg chg="del delSldLayout">
        <pc:chgData name="Ettore Minelli" userId="7870a1ad-01cf-4239-8cce-750deae7f4ef" providerId="ADAL" clId="{97863174-A4D6-40FC-87CB-EB217C5B4254}" dt="2022-10-04T16:13:00.147" v="9" actId="47"/>
        <pc:sldMasterMkLst>
          <pc:docMk/>
          <pc:sldMasterMk cId="1082252413" sldId="2147483648"/>
        </pc:sldMasterMkLst>
        <pc:sldLayoutChg chg="del">
          <pc:chgData name="Ettore Minelli" userId="7870a1ad-01cf-4239-8cce-750deae7f4ef" providerId="ADAL" clId="{97863174-A4D6-40FC-87CB-EB217C5B4254}" dt="2022-10-04T16:13:00.147" v="9" actId="47"/>
          <pc:sldLayoutMkLst>
            <pc:docMk/>
            <pc:sldMasterMk cId="1082252413" sldId="2147483648"/>
            <pc:sldLayoutMk cId="4238728039" sldId="2147483649"/>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3801588320" sldId="2147483650"/>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2802857315" sldId="2147483651"/>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3710073057" sldId="2147483652"/>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4151294929" sldId="2147483653"/>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3144353047" sldId="2147483654"/>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1813080661" sldId="2147483655"/>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3152497056" sldId="2147483656"/>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491188343" sldId="2147483657"/>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1070954327" sldId="2147483658"/>
          </pc:sldLayoutMkLst>
        </pc:sldLayoutChg>
        <pc:sldLayoutChg chg="del">
          <pc:chgData name="Ettore Minelli" userId="7870a1ad-01cf-4239-8cce-750deae7f4ef" providerId="ADAL" clId="{97863174-A4D6-40FC-87CB-EB217C5B4254}" dt="2022-10-04T16:13:00.147" v="9" actId="47"/>
          <pc:sldLayoutMkLst>
            <pc:docMk/>
            <pc:sldMasterMk cId="1082252413" sldId="2147483648"/>
            <pc:sldLayoutMk cId="4061463411" sldId="2147483659"/>
          </pc:sldLayoutMkLst>
        </pc:sldLayoutChg>
      </pc:sldMasterChg>
      <pc:sldMasterChg chg="delSldLayout">
        <pc:chgData name="Ettore Minelli" userId="7870a1ad-01cf-4239-8cce-750deae7f4ef" providerId="ADAL" clId="{97863174-A4D6-40FC-87CB-EB217C5B4254}" dt="2022-10-05T16:53:00.326" v="3275" actId="47"/>
        <pc:sldMasterMkLst>
          <pc:docMk/>
          <pc:sldMasterMk cId="3947139209" sldId="2147483660"/>
        </pc:sldMasterMkLst>
        <pc:sldLayoutChg chg="del">
          <pc:chgData name="Ettore Minelli" userId="7870a1ad-01cf-4239-8cce-750deae7f4ef" providerId="ADAL" clId="{97863174-A4D6-40FC-87CB-EB217C5B4254}" dt="2022-10-05T16:53:00.326" v="3275" actId="47"/>
          <pc:sldLayoutMkLst>
            <pc:docMk/>
            <pc:sldMasterMk cId="3947139209" sldId="2147483660"/>
            <pc:sldLayoutMk cId="1938684962" sldId="2147483673"/>
          </pc:sldLayoutMkLst>
        </pc:sldLayoutChg>
        <pc:sldLayoutChg chg="del">
          <pc:chgData name="Ettore Minelli" userId="7870a1ad-01cf-4239-8cce-750deae7f4ef" providerId="ADAL" clId="{97863174-A4D6-40FC-87CB-EB217C5B4254}" dt="2022-10-05T14:38:20.031" v="2224" actId="47"/>
          <pc:sldLayoutMkLst>
            <pc:docMk/>
            <pc:sldMasterMk cId="3947139209" sldId="2147483660"/>
            <pc:sldLayoutMk cId="3710817024" sldId="214748367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D7FA5F-9B4E-4061-BC77-4CF6EE5E984D}" type="datetimeFigureOut">
              <a:rPr lang="it-IT" smtClean="0"/>
              <a:t>05/10/2022</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CFDABF-6C8B-4FF2-A0CB-0D4037A59993}" type="slidenum">
              <a:rPr lang="it-IT" smtClean="0"/>
              <a:t>‹#›</a:t>
            </a:fld>
            <a:endParaRPr lang="it-IT"/>
          </a:p>
        </p:txBody>
      </p:sp>
    </p:spTree>
    <p:extLst>
      <p:ext uri="{BB962C8B-B14F-4D97-AF65-F5344CB8AC3E}">
        <p14:creationId xmlns:p14="http://schemas.microsoft.com/office/powerpoint/2010/main" val="3986320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855422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1367687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5" y="0"/>
            <a:ext cx="12186330"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68635079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dirty="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
        <p:nvSpPr>
          <p:cNvPr id="3" name="Title 1"/>
          <p:cNvSpPr>
            <a:spLocks noGrp="1"/>
          </p:cNvSpPr>
          <p:nvPr>
            <p:ph type="ctrTitle" hasCustomPrompt="1"/>
          </p:nvPr>
        </p:nvSpPr>
        <p:spPr>
          <a:xfrm>
            <a:off x="89986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529" y="3883152"/>
            <a:ext cx="5514019" cy="643129"/>
          </a:xfrm>
          <a:prstGeom prst="rect">
            <a:avLst/>
          </a:prstGeom>
        </p:spPr>
      </p:pic>
    </p:spTree>
    <p:extLst>
      <p:ext uri="{BB962C8B-B14F-4D97-AF65-F5344CB8AC3E}">
        <p14:creationId xmlns:p14="http://schemas.microsoft.com/office/powerpoint/2010/main" val="360589387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638597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5 October 2022</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167092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264211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5 October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7502" y="6471244"/>
            <a:ext cx="3084493" cy="180000"/>
          </a:xfrm>
          <a:prstGeom prst="rect">
            <a:avLst/>
          </a:prstGeom>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599" y="1137920"/>
            <a:ext cx="8250503"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862276053"/>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26100907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200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4872455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85343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5 October 2022</a:t>
            </a:fld>
            <a:endParaRPr lang="en-US" dirty="0"/>
          </a:p>
        </p:txBody>
      </p:sp>
      <p:sp>
        <p:nvSpPr>
          <p:cNvPr id="4" name="Fußzeilenplatzhalter 3"/>
          <p:cNvSpPr>
            <a:spLocks noGrp="1"/>
          </p:cNvSpPr>
          <p:nvPr>
            <p:ph type="ftr" sz="quarter" idx="11"/>
          </p:nvPr>
        </p:nvSpPr>
        <p:spPr>
          <a:xfrm>
            <a:off x="3237502" y="6471244"/>
            <a:ext cx="3084493" cy="180000"/>
          </a:xfrm>
          <a:prstGeom prst="rect">
            <a:avLst/>
          </a:prstGeom>
        </p:spPr>
        <p:txBody>
          <a:bodyPr/>
          <a:lstStyle/>
          <a:p>
            <a:r>
              <a:rPr lang="en-US"/>
              <a:t>EY DE PPT Gallery</a:t>
            </a:r>
            <a:endParaRPr lang="en-US" dirty="0"/>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778941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78" y="0"/>
            <a:ext cx="12182044"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78" y="3176"/>
            <a:ext cx="12162759"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241144206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dirty="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276312283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200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449395"/>
            <a:ext cx="10972800" cy="4643430"/>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22827457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27780"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399">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91671500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4"/>
            </p:custDataLst>
            <p:extLst>
              <p:ext uri="{D42A27DB-BD31-4B8C-83A1-F6EECF244321}">
                <p14:modId xmlns:p14="http://schemas.microsoft.com/office/powerpoint/2010/main" val="2343016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6" imgW="352" imgH="318" progId="TCLayout.ActiveDocument.1">
                  <p:embed/>
                </p:oleObj>
              </mc:Choice>
              <mc:Fallback>
                <p:oleObj name="think-cell Slide" r:id="rId26"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7"/>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5"/>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de-DE" sz="23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0919" lvl="2" indent="-233246"/>
            <a:r>
              <a:rPr lang="en-US" noProof="0" dirty="0"/>
              <a:t>Third level</a:t>
            </a:r>
          </a:p>
          <a:p>
            <a:pPr marL="745752" lvl="3" indent="-231659"/>
            <a:r>
              <a:rPr lang="en-US" noProof="0" dirty="0"/>
              <a:t>Fourth level</a:t>
            </a:r>
          </a:p>
          <a:p>
            <a:pPr marL="944091" lvl="4" indent="-201512">
              <a:buClr>
                <a:srgbClr val="FFE600"/>
              </a:buClr>
            </a:pPr>
            <a:r>
              <a:rPr lang="en-US" noProof="0" dirty="0"/>
              <a:t>Text</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5 October 2022</a:t>
            </a:fld>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6"/>
            </p:custDataLst>
          </p:nvPr>
        </p:nvGrpSpPr>
        <p:grpSpPr>
          <a:xfrm>
            <a:off x="12318934" y="0"/>
            <a:ext cx="292456"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grpSp>
    </p:spTree>
    <p:extLst>
      <p:ext uri="{BB962C8B-B14F-4D97-AF65-F5344CB8AC3E}">
        <p14:creationId xmlns:p14="http://schemas.microsoft.com/office/powerpoint/2010/main" val="39471392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18" Type="http://schemas.openxmlformats.org/officeDocument/2006/relationships/image" Target="../media/image24.png"/><Relationship Id="rId26" Type="http://schemas.openxmlformats.org/officeDocument/2006/relationships/image" Target="../media/image32.svg"/><Relationship Id="rId3" Type="http://schemas.openxmlformats.org/officeDocument/2006/relationships/notesSlide" Target="../notesSlides/notesSlide1.xml"/><Relationship Id="rId21" Type="http://schemas.openxmlformats.org/officeDocument/2006/relationships/image" Target="../media/image27.svg"/><Relationship Id="rId7" Type="http://schemas.openxmlformats.org/officeDocument/2006/relationships/image" Target="../media/image13.svg"/><Relationship Id="rId12" Type="http://schemas.openxmlformats.org/officeDocument/2006/relationships/image" Target="../media/image18.png"/><Relationship Id="rId17" Type="http://schemas.openxmlformats.org/officeDocument/2006/relationships/image" Target="../media/image23.svg"/><Relationship Id="rId25" Type="http://schemas.openxmlformats.org/officeDocument/2006/relationships/image" Target="../media/image31.png"/><Relationship Id="rId2" Type="http://schemas.openxmlformats.org/officeDocument/2006/relationships/slideLayout" Target="../slideLayouts/slideLayout2.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24.xml"/><Relationship Id="rId6" Type="http://schemas.openxmlformats.org/officeDocument/2006/relationships/image" Target="../media/image12.png"/><Relationship Id="rId11" Type="http://schemas.openxmlformats.org/officeDocument/2006/relationships/image" Target="../media/image17.svg"/><Relationship Id="rId24" Type="http://schemas.openxmlformats.org/officeDocument/2006/relationships/image" Target="../media/image30.svg"/><Relationship Id="rId5" Type="http://schemas.openxmlformats.org/officeDocument/2006/relationships/image" Target="../media/image11.emf"/><Relationship Id="rId15" Type="http://schemas.openxmlformats.org/officeDocument/2006/relationships/image" Target="../media/image21.svg"/><Relationship Id="rId23" Type="http://schemas.openxmlformats.org/officeDocument/2006/relationships/image" Target="../media/image29.png"/><Relationship Id="rId28" Type="http://schemas.openxmlformats.org/officeDocument/2006/relationships/image" Target="../media/image34.svg"/><Relationship Id="rId10" Type="http://schemas.openxmlformats.org/officeDocument/2006/relationships/image" Target="../media/image16.png"/><Relationship Id="rId19" Type="http://schemas.openxmlformats.org/officeDocument/2006/relationships/image" Target="../media/image25.svg"/><Relationship Id="rId4" Type="http://schemas.openxmlformats.org/officeDocument/2006/relationships/oleObject" Target="../embeddings/oleObject8.bin"/><Relationship Id="rId9" Type="http://schemas.openxmlformats.org/officeDocument/2006/relationships/image" Target="../media/image15.sv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18" Type="http://schemas.openxmlformats.org/officeDocument/2006/relationships/image" Target="../media/image24.png"/><Relationship Id="rId3" Type="http://schemas.openxmlformats.org/officeDocument/2006/relationships/notesSlide" Target="../notesSlides/notesSlide2.xml"/><Relationship Id="rId21" Type="http://schemas.openxmlformats.org/officeDocument/2006/relationships/image" Target="../media/image27.svg"/><Relationship Id="rId7" Type="http://schemas.openxmlformats.org/officeDocument/2006/relationships/image" Target="../media/image13.svg"/><Relationship Id="rId12" Type="http://schemas.openxmlformats.org/officeDocument/2006/relationships/image" Target="../media/image18.png"/><Relationship Id="rId17" Type="http://schemas.openxmlformats.org/officeDocument/2006/relationships/image" Target="../media/image23.svg"/><Relationship Id="rId2" Type="http://schemas.openxmlformats.org/officeDocument/2006/relationships/slideLayout" Target="../slideLayouts/slideLayout2.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25.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emf"/><Relationship Id="rId15" Type="http://schemas.openxmlformats.org/officeDocument/2006/relationships/image" Target="../media/image21.svg"/><Relationship Id="rId10" Type="http://schemas.openxmlformats.org/officeDocument/2006/relationships/image" Target="../media/image16.png"/><Relationship Id="rId19" Type="http://schemas.openxmlformats.org/officeDocument/2006/relationships/image" Target="../media/image25.svg"/><Relationship Id="rId4" Type="http://schemas.openxmlformats.org/officeDocument/2006/relationships/oleObject" Target="../embeddings/oleObject8.bin"/><Relationship Id="rId9" Type="http://schemas.openxmlformats.org/officeDocument/2006/relationships/image" Target="../media/image15.svg"/><Relationship Id="rId1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cxnSp>
        <p:nvCxnSpPr>
          <p:cNvPr id="81" name="Straight Connector 80">
            <a:extLst>
              <a:ext uri="{FF2B5EF4-FFF2-40B4-BE49-F238E27FC236}">
                <a16:creationId xmlns:a16="http://schemas.microsoft.com/office/drawing/2014/main" id="{85C4FC41-05A5-4E91-A5D4-3B68D7739CD4}"/>
              </a:ext>
            </a:extLst>
          </p:cNvPr>
          <p:cNvCxnSpPr>
            <a:cxnSpLocks/>
          </p:cNvCxnSpPr>
          <p:nvPr/>
        </p:nvCxnSpPr>
        <p:spPr>
          <a:xfrm>
            <a:off x="1264524" y="2149715"/>
            <a:ext cx="0" cy="2180203"/>
          </a:xfrm>
          <a:prstGeom prst="line">
            <a:avLst/>
          </a:prstGeom>
          <a:noFill/>
          <a:ln w="19050" cap="sq" cmpd="sng" algn="ctr">
            <a:solidFill>
              <a:schemeClr val="tx2"/>
            </a:solidFill>
            <a:prstDash val="sysDash"/>
            <a:miter lim="800000"/>
            <a:tailEnd type="none"/>
          </a:ln>
          <a:effectLst/>
        </p:spPr>
      </p:cxnSp>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600" y="294200"/>
            <a:ext cx="11201343" cy="590400"/>
          </a:xfrm>
        </p:spPr>
        <p:txBody>
          <a:bodyPr vert="horz"/>
          <a:lstStyle/>
          <a:p>
            <a:pPr>
              <a:tabLst>
                <a:tab pos="2686294" algn="l"/>
              </a:tabLst>
            </a:pPr>
            <a:r>
              <a:rPr lang="en-US" sz="1799" dirty="0"/>
              <a:t>Only experienced professionals can discover value creation opportunities within a target operational model, combining solidity and reliability with freshness and innovativeness</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600" y="909062"/>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en-US" sz="1799" dirty="0">
              <a:solidFill>
                <a:prstClr val="white"/>
              </a:solidFill>
              <a:latin typeface="EYInterstate Ligh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dirty="0">
                <a:solidFill>
                  <a:prstClr val="white"/>
                </a:solidFill>
              </a:rPr>
              <a:t>Page </a:t>
            </a:r>
            <a:fld id="{F1BC30E3-FFE5-4B91-AA19-87A149EBB9EE}" type="slidenum">
              <a:rPr lang="en-US">
                <a:solidFill>
                  <a:prstClr val="white"/>
                </a:solidFill>
              </a:rPr>
              <a:pPr/>
              <a:t>1</a:t>
            </a:fld>
            <a:endParaRPr lang="en-US" dirty="0">
              <a:solidFill>
                <a:prstClr val="white"/>
              </a:solidFill>
            </a:endParaRPr>
          </a:p>
        </p:txBody>
      </p:sp>
      <p:sp>
        <p:nvSpPr>
          <p:cNvPr id="22" name="TextBox 21">
            <a:extLst>
              <a:ext uri="{FF2B5EF4-FFF2-40B4-BE49-F238E27FC236}">
                <a16:creationId xmlns:a16="http://schemas.microsoft.com/office/drawing/2014/main" id="{80CDE037-0580-4F71-A58C-FD65A88A0C6E}"/>
              </a:ext>
            </a:extLst>
          </p:cNvPr>
          <p:cNvSpPr txBox="1"/>
          <p:nvPr/>
        </p:nvSpPr>
        <p:spPr>
          <a:xfrm>
            <a:off x="609601" y="989897"/>
            <a:ext cx="3004211" cy="30761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pPr defTabSz="913620">
              <a:tabLst>
                <a:tab pos="180250" algn="l"/>
                <a:tab pos="449355" algn="l"/>
              </a:tabLst>
            </a:pPr>
            <a:r>
              <a:rPr lang="en-IN" sz="1399" dirty="0">
                <a:solidFill>
                  <a:srgbClr val="FFE600"/>
                </a:solidFill>
                <a:latin typeface="EYInterstate Light"/>
              </a:rPr>
              <a:t>Commercial DD vs Operational DD</a:t>
            </a:r>
          </a:p>
        </p:txBody>
      </p:sp>
      <p:grpSp>
        <p:nvGrpSpPr>
          <p:cNvPr id="46" name="Group 45">
            <a:extLst>
              <a:ext uri="{FF2B5EF4-FFF2-40B4-BE49-F238E27FC236}">
                <a16:creationId xmlns:a16="http://schemas.microsoft.com/office/drawing/2014/main" id="{A352D321-72D7-473D-8C67-E9140D0D5BAC}"/>
              </a:ext>
            </a:extLst>
          </p:cNvPr>
          <p:cNvGrpSpPr/>
          <p:nvPr/>
        </p:nvGrpSpPr>
        <p:grpSpPr>
          <a:xfrm>
            <a:off x="8938856" y="32552"/>
            <a:ext cx="3126090" cy="288152"/>
            <a:chOff x="1432687" y="2255388"/>
            <a:chExt cx="3127718" cy="288302"/>
          </a:xfrm>
        </p:grpSpPr>
        <p:sp>
          <p:nvSpPr>
            <p:cNvPr id="52" name="Rectangle 6">
              <a:extLst>
                <a:ext uri="{FF2B5EF4-FFF2-40B4-BE49-F238E27FC236}">
                  <a16:creationId xmlns:a16="http://schemas.microsoft.com/office/drawing/2014/main" id="{7BA6AF63-1567-45CC-80D8-3AD980145DA5}"/>
                </a:ext>
              </a:extLst>
            </p:cNvPr>
            <p:cNvSpPr/>
            <p:nvPr/>
          </p:nvSpPr>
          <p:spPr>
            <a:xfrm>
              <a:off x="1432687" y="2261041"/>
              <a:ext cx="280846" cy="276999"/>
            </a:xfrm>
            <a:prstGeom prst="rect">
              <a:avLst/>
            </a:prstGeom>
          </p:spPr>
          <p:txBody>
            <a:bodyPr wrap="none" anchor="ctr">
              <a:spAutoFit/>
            </a:bodyPr>
            <a:lstStyle/>
            <a:p>
              <a:pPr algn="ctr" defTabSz="913943"/>
              <a:r>
                <a:rPr lang="en-US" sz="1199" dirty="0">
                  <a:solidFill>
                    <a:prstClr val="white"/>
                  </a:solidFill>
                  <a:latin typeface="EYInterstate"/>
                </a:rPr>
                <a:t>1</a:t>
              </a:r>
            </a:p>
          </p:txBody>
        </p:sp>
        <p:pic>
          <p:nvPicPr>
            <p:cNvPr id="53" name="Graphic 52" descr="Target with solid fill">
              <a:extLst>
                <a:ext uri="{FF2B5EF4-FFF2-40B4-BE49-F238E27FC236}">
                  <a16:creationId xmlns:a16="http://schemas.microsoft.com/office/drawing/2014/main" id="{F664CF74-3726-471C-8807-DAF69FD5315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17840" y="2255388"/>
              <a:ext cx="254134" cy="288302"/>
            </a:xfrm>
            <a:prstGeom prst="rect">
              <a:avLst/>
            </a:prstGeom>
          </p:spPr>
        </p:pic>
        <p:sp>
          <p:nvSpPr>
            <p:cNvPr id="54" name="Rectangle 11">
              <a:extLst>
                <a:ext uri="{FF2B5EF4-FFF2-40B4-BE49-F238E27FC236}">
                  <a16:creationId xmlns:a16="http://schemas.microsoft.com/office/drawing/2014/main" id="{03BBE45E-C9AD-4B9C-AACD-359BA47C3A96}"/>
                </a:ext>
              </a:extLst>
            </p:cNvPr>
            <p:cNvSpPr/>
            <p:nvPr/>
          </p:nvSpPr>
          <p:spPr>
            <a:xfrm>
              <a:off x="1959703" y="2266265"/>
              <a:ext cx="280846" cy="276999"/>
            </a:xfrm>
            <a:prstGeom prst="rect">
              <a:avLst/>
            </a:prstGeom>
          </p:spPr>
          <p:txBody>
            <a:bodyPr wrap="none">
              <a:spAutoFit/>
            </a:bodyPr>
            <a:lstStyle/>
            <a:p>
              <a:pPr algn="ctr" defTabSz="913943"/>
              <a:r>
                <a:rPr lang="en-US" sz="1199" dirty="0">
                  <a:solidFill>
                    <a:srgbClr val="FFE600"/>
                  </a:solidFill>
                  <a:latin typeface="EYInterstate"/>
                </a:rPr>
                <a:t>2</a:t>
              </a:r>
            </a:p>
          </p:txBody>
        </p:sp>
        <p:pic>
          <p:nvPicPr>
            <p:cNvPr id="55" name="Graphic 54" descr="Lights On with solid fill">
              <a:extLst>
                <a:ext uri="{FF2B5EF4-FFF2-40B4-BE49-F238E27FC236}">
                  <a16:creationId xmlns:a16="http://schemas.microsoft.com/office/drawing/2014/main" id="{0C40CB7C-7887-4145-BDC6-6D0D50FB618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0451" y="2255388"/>
              <a:ext cx="254133" cy="288302"/>
            </a:xfrm>
            <a:prstGeom prst="rect">
              <a:avLst/>
            </a:prstGeom>
          </p:spPr>
        </p:pic>
        <p:sp>
          <p:nvSpPr>
            <p:cNvPr id="56" name="Rectangle 12">
              <a:extLst>
                <a:ext uri="{FF2B5EF4-FFF2-40B4-BE49-F238E27FC236}">
                  <a16:creationId xmlns:a16="http://schemas.microsoft.com/office/drawing/2014/main" id="{2C0A817F-DADB-42BB-A99B-F730278BE885}"/>
                </a:ext>
              </a:extLst>
            </p:cNvPr>
            <p:cNvSpPr/>
            <p:nvPr/>
          </p:nvSpPr>
          <p:spPr>
            <a:xfrm>
              <a:off x="2512312" y="2266265"/>
              <a:ext cx="280846" cy="276999"/>
            </a:xfrm>
            <a:prstGeom prst="rect">
              <a:avLst/>
            </a:prstGeom>
          </p:spPr>
          <p:txBody>
            <a:bodyPr wrap="none">
              <a:spAutoFit/>
            </a:bodyPr>
            <a:lstStyle/>
            <a:p>
              <a:pPr algn="ctr" defTabSz="913943"/>
              <a:r>
                <a:rPr lang="en-US" sz="1199" dirty="0">
                  <a:solidFill>
                    <a:prstClr val="white"/>
                  </a:solidFill>
                  <a:latin typeface="EYInterstate"/>
                </a:rPr>
                <a:t>3</a:t>
              </a:r>
            </a:p>
          </p:txBody>
        </p:sp>
        <p:pic>
          <p:nvPicPr>
            <p:cNvPr id="57" name="Graphic 56" descr="Clipboard Checked with solid fill">
              <a:extLst>
                <a:ext uri="{FF2B5EF4-FFF2-40B4-BE49-F238E27FC236}">
                  <a16:creationId xmlns:a16="http://schemas.microsoft.com/office/drawing/2014/main" id="{4EE6722A-4C28-461A-9631-80AA5A93675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98548" y="2255388"/>
              <a:ext cx="254134" cy="288302"/>
            </a:xfrm>
            <a:prstGeom prst="rect">
              <a:avLst/>
            </a:prstGeom>
          </p:spPr>
        </p:pic>
        <p:sp>
          <p:nvSpPr>
            <p:cNvPr id="58" name="Rectangle 6">
              <a:extLst>
                <a:ext uri="{FF2B5EF4-FFF2-40B4-BE49-F238E27FC236}">
                  <a16:creationId xmlns:a16="http://schemas.microsoft.com/office/drawing/2014/main" id="{AF0E0A0C-C8D8-4CE8-B8FF-C300D605698F}"/>
                </a:ext>
              </a:extLst>
            </p:cNvPr>
            <p:cNvSpPr/>
            <p:nvPr/>
          </p:nvSpPr>
          <p:spPr>
            <a:xfrm>
              <a:off x="3040410" y="2266265"/>
              <a:ext cx="280846" cy="276999"/>
            </a:xfrm>
            <a:prstGeom prst="rect">
              <a:avLst/>
            </a:prstGeom>
          </p:spPr>
          <p:txBody>
            <a:bodyPr wrap="none">
              <a:spAutoFit/>
            </a:bodyPr>
            <a:lstStyle/>
            <a:p>
              <a:pPr algn="ctr" defTabSz="913943"/>
              <a:r>
                <a:rPr lang="en-US" sz="1199" dirty="0">
                  <a:solidFill>
                    <a:prstClr val="white"/>
                  </a:solidFill>
                  <a:latin typeface="EYInterstate"/>
                </a:rPr>
                <a:t>4</a:t>
              </a:r>
            </a:p>
          </p:txBody>
        </p:sp>
        <p:pic>
          <p:nvPicPr>
            <p:cNvPr id="59" name="Graphic 58" descr="Daily calendar with solid fill">
              <a:extLst>
                <a:ext uri="{FF2B5EF4-FFF2-40B4-BE49-F238E27FC236}">
                  <a16:creationId xmlns:a16="http://schemas.microsoft.com/office/drawing/2014/main" id="{7F8909F9-DC33-4D55-9876-F36687E95FC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25563" y="2255388"/>
              <a:ext cx="254134" cy="288302"/>
            </a:xfrm>
            <a:prstGeom prst="rect">
              <a:avLst/>
            </a:prstGeom>
          </p:spPr>
        </p:pic>
        <p:sp>
          <p:nvSpPr>
            <p:cNvPr id="60" name="Rectangle 11">
              <a:extLst>
                <a:ext uri="{FF2B5EF4-FFF2-40B4-BE49-F238E27FC236}">
                  <a16:creationId xmlns:a16="http://schemas.microsoft.com/office/drawing/2014/main" id="{F27CE885-D5D8-429A-BD39-DFEA889A36B4}"/>
                </a:ext>
              </a:extLst>
            </p:cNvPr>
            <p:cNvSpPr/>
            <p:nvPr/>
          </p:nvSpPr>
          <p:spPr>
            <a:xfrm>
              <a:off x="3567426" y="2266265"/>
              <a:ext cx="280846" cy="276999"/>
            </a:xfrm>
            <a:prstGeom prst="rect">
              <a:avLst/>
            </a:prstGeom>
          </p:spPr>
          <p:txBody>
            <a:bodyPr wrap="none">
              <a:spAutoFit/>
            </a:bodyPr>
            <a:lstStyle/>
            <a:p>
              <a:pPr algn="ctr" defTabSz="913943"/>
              <a:r>
                <a:rPr lang="en-US" sz="1199" dirty="0">
                  <a:solidFill>
                    <a:prstClr val="white"/>
                  </a:solidFill>
                  <a:latin typeface="EYInterstate"/>
                </a:rPr>
                <a:t>5</a:t>
              </a:r>
            </a:p>
          </p:txBody>
        </p:sp>
        <p:pic>
          <p:nvPicPr>
            <p:cNvPr id="61" name="Graphic 60" descr="Target Audience with solid fill">
              <a:extLst>
                <a:ext uri="{FF2B5EF4-FFF2-40B4-BE49-F238E27FC236}">
                  <a16:creationId xmlns:a16="http://schemas.microsoft.com/office/drawing/2014/main" id="{333ECB1B-CD32-47F1-8C43-C238A5C16C5C}"/>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78174" y="2255388"/>
              <a:ext cx="254133" cy="288302"/>
            </a:xfrm>
            <a:prstGeom prst="rect">
              <a:avLst/>
            </a:prstGeom>
          </p:spPr>
        </p:pic>
        <p:sp>
          <p:nvSpPr>
            <p:cNvPr id="62" name="Rectangle 12">
              <a:extLst>
                <a:ext uri="{FF2B5EF4-FFF2-40B4-BE49-F238E27FC236}">
                  <a16:creationId xmlns:a16="http://schemas.microsoft.com/office/drawing/2014/main" id="{13EF6385-CFF0-415C-A9ED-80BE23AEE2A9}"/>
                </a:ext>
              </a:extLst>
            </p:cNvPr>
            <p:cNvSpPr/>
            <p:nvPr/>
          </p:nvSpPr>
          <p:spPr>
            <a:xfrm>
              <a:off x="4120035" y="2266265"/>
              <a:ext cx="280846" cy="276999"/>
            </a:xfrm>
            <a:prstGeom prst="rect">
              <a:avLst/>
            </a:prstGeom>
          </p:spPr>
          <p:txBody>
            <a:bodyPr wrap="none">
              <a:spAutoFit/>
            </a:bodyPr>
            <a:lstStyle/>
            <a:p>
              <a:pPr algn="ctr" defTabSz="913943"/>
              <a:r>
                <a:rPr lang="en-US" sz="1199" dirty="0">
                  <a:solidFill>
                    <a:prstClr val="white"/>
                  </a:solidFill>
                  <a:latin typeface="EYInterstate"/>
                </a:rPr>
                <a:t>6</a:t>
              </a:r>
            </a:p>
          </p:txBody>
        </p:sp>
        <p:pic>
          <p:nvPicPr>
            <p:cNvPr id="63" name="Graphic 62" descr="Cycle with people with solid fill">
              <a:extLst>
                <a:ext uri="{FF2B5EF4-FFF2-40B4-BE49-F238E27FC236}">
                  <a16:creationId xmlns:a16="http://schemas.microsoft.com/office/drawing/2014/main" id="{30ACF9E8-F1DC-4990-8C62-94696704270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06271" y="2255388"/>
              <a:ext cx="254134" cy="288302"/>
            </a:xfrm>
            <a:prstGeom prst="rect">
              <a:avLst/>
            </a:prstGeom>
          </p:spPr>
        </p:pic>
      </p:grpSp>
      <p:grpSp>
        <p:nvGrpSpPr>
          <p:cNvPr id="64" name="Group 63">
            <a:extLst>
              <a:ext uri="{FF2B5EF4-FFF2-40B4-BE49-F238E27FC236}">
                <a16:creationId xmlns:a16="http://schemas.microsoft.com/office/drawing/2014/main" id="{C2BA7F30-9891-4070-B52B-D6F4CF38C5F2}"/>
              </a:ext>
            </a:extLst>
          </p:cNvPr>
          <p:cNvGrpSpPr/>
          <p:nvPr/>
        </p:nvGrpSpPr>
        <p:grpSpPr>
          <a:xfrm>
            <a:off x="8938856" y="32552"/>
            <a:ext cx="3126090" cy="288152"/>
            <a:chOff x="1585087" y="2773548"/>
            <a:chExt cx="3127718" cy="288302"/>
          </a:xfrm>
        </p:grpSpPr>
        <p:sp>
          <p:nvSpPr>
            <p:cNvPr id="65" name="Rectangle 6">
              <a:extLst>
                <a:ext uri="{FF2B5EF4-FFF2-40B4-BE49-F238E27FC236}">
                  <a16:creationId xmlns:a16="http://schemas.microsoft.com/office/drawing/2014/main" id="{790F5D72-0B56-48FC-A3DE-3DB77A5F3919}"/>
                </a:ext>
              </a:extLst>
            </p:cNvPr>
            <p:cNvSpPr/>
            <p:nvPr/>
          </p:nvSpPr>
          <p:spPr>
            <a:xfrm>
              <a:off x="1585087" y="2779201"/>
              <a:ext cx="280846" cy="276999"/>
            </a:xfrm>
            <a:prstGeom prst="rect">
              <a:avLst/>
            </a:prstGeom>
          </p:spPr>
          <p:txBody>
            <a:bodyPr wrap="none" anchor="ctr">
              <a:spAutoFit/>
            </a:bodyPr>
            <a:lstStyle/>
            <a:p>
              <a:pPr algn="ctr" defTabSz="913943"/>
              <a:r>
                <a:rPr lang="en-US" sz="1199" dirty="0">
                  <a:solidFill>
                    <a:prstClr val="white"/>
                  </a:solidFill>
                  <a:latin typeface="EYInterstate"/>
                </a:rPr>
                <a:t>1</a:t>
              </a:r>
            </a:p>
          </p:txBody>
        </p:sp>
        <p:pic>
          <p:nvPicPr>
            <p:cNvPr id="66" name="Graphic 65" descr="Target with solid fill">
              <a:extLst>
                <a:ext uri="{FF2B5EF4-FFF2-40B4-BE49-F238E27FC236}">
                  <a16:creationId xmlns:a16="http://schemas.microsoft.com/office/drawing/2014/main" id="{2C496392-0E88-465E-B839-561203FE2B6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70240" y="2773548"/>
              <a:ext cx="254134" cy="288302"/>
            </a:xfrm>
            <a:prstGeom prst="rect">
              <a:avLst/>
            </a:prstGeom>
          </p:spPr>
        </p:pic>
        <p:sp>
          <p:nvSpPr>
            <p:cNvPr id="67" name="Rectangle 11">
              <a:extLst>
                <a:ext uri="{FF2B5EF4-FFF2-40B4-BE49-F238E27FC236}">
                  <a16:creationId xmlns:a16="http://schemas.microsoft.com/office/drawing/2014/main" id="{2143D6DE-9AF8-4AEB-B646-DC3D70298C45}"/>
                </a:ext>
              </a:extLst>
            </p:cNvPr>
            <p:cNvSpPr/>
            <p:nvPr/>
          </p:nvSpPr>
          <p:spPr>
            <a:xfrm>
              <a:off x="2112103" y="2784425"/>
              <a:ext cx="280846" cy="276999"/>
            </a:xfrm>
            <a:prstGeom prst="rect">
              <a:avLst/>
            </a:prstGeom>
          </p:spPr>
          <p:txBody>
            <a:bodyPr wrap="none">
              <a:spAutoFit/>
            </a:bodyPr>
            <a:lstStyle/>
            <a:p>
              <a:pPr algn="ctr" defTabSz="913943"/>
              <a:r>
                <a:rPr lang="en-US" sz="1199" dirty="0">
                  <a:solidFill>
                    <a:prstClr val="white"/>
                  </a:solidFill>
                  <a:latin typeface="EYInterstate"/>
                </a:rPr>
                <a:t>2</a:t>
              </a:r>
            </a:p>
          </p:txBody>
        </p:sp>
        <p:pic>
          <p:nvPicPr>
            <p:cNvPr id="68" name="Graphic 67" descr="Lights On with solid fill">
              <a:extLst>
                <a:ext uri="{FF2B5EF4-FFF2-40B4-BE49-F238E27FC236}">
                  <a16:creationId xmlns:a16="http://schemas.microsoft.com/office/drawing/2014/main" id="{4DC4ADA3-EE26-42CD-93CB-9069A262126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322851" y="2773548"/>
              <a:ext cx="254133" cy="288302"/>
            </a:xfrm>
            <a:prstGeom prst="rect">
              <a:avLst/>
            </a:prstGeom>
          </p:spPr>
        </p:pic>
        <p:sp>
          <p:nvSpPr>
            <p:cNvPr id="69" name="Rectangle 12">
              <a:extLst>
                <a:ext uri="{FF2B5EF4-FFF2-40B4-BE49-F238E27FC236}">
                  <a16:creationId xmlns:a16="http://schemas.microsoft.com/office/drawing/2014/main" id="{A89E4283-139A-4E05-B4DD-8BC9DA76A74C}"/>
                </a:ext>
              </a:extLst>
            </p:cNvPr>
            <p:cNvSpPr/>
            <p:nvPr/>
          </p:nvSpPr>
          <p:spPr>
            <a:xfrm>
              <a:off x="2664712" y="2784425"/>
              <a:ext cx="280846" cy="276999"/>
            </a:xfrm>
            <a:prstGeom prst="rect">
              <a:avLst/>
            </a:prstGeom>
          </p:spPr>
          <p:txBody>
            <a:bodyPr wrap="none">
              <a:spAutoFit/>
            </a:bodyPr>
            <a:lstStyle/>
            <a:p>
              <a:pPr algn="ctr" defTabSz="913943"/>
              <a:r>
                <a:rPr lang="en-US" sz="1199" dirty="0">
                  <a:solidFill>
                    <a:srgbClr val="FFE600"/>
                  </a:solidFill>
                  <a:latin typeface="EYInterstate"/>
                </a:rPr>
                <a:t>3</a:t>
              </a:r>
            </a:p>
          </p:txBody>
        </p:sp>
        <p:pic>
          <p:nvPicPr>
            <p:cNvPr id="70" name="Graphic 69" descr="Clipboard Checked with solid fill">
              <a:extLst>
                <a:ext uri="{FF2B5EF4-FFF2-40B4-BE49-F238E27FC236}">
                  <a16:creationId xmlns:a16="http://schemas.microsoft.com/office/drawing/2014/main" id="{042830EE-E4F3-4267-8A0B-B19304FA709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50948" y="2773548"/>
              <a:ext cx="254134" cy="288302"/>
            </a:xfrm>
            <a:prstGeom prst="rect">
              <a:avLst/>
            </a:prstGeom>
          </p:spPr>
        </p:pic>
        <p:sp>
          <p:nvSpPr>
            <p:cNvPr id="71" name="Rectangle 6">
              <a:extLst>
                <a:ext uri="{FF2B5EF4-FFF2-40B4-BE49-F238E27FC236}">
                  <a16:creationId xmlns:a16="http://schemas.microsoft.com/office/drawing/2014/main" id="{81E6164D-46D3-48D9-87A7-3AF7DB13F268}"/>
                </a:ext>
              </a:extLst>
            </p:cNvPr>
            <p:cNvSpPr/>
            <p:nvPr/>
          </p:nvSpPr>
          <p:spPr>
            <a:xfrm>
              <a:off x="3192810" y="2784425"/>
              <a:ext cx="280846" cy="276999"/>
            </a:xfrm>
            <a:prstGeom prst="rect">
              <a:avLst/>
            </a:prstGeom>
          </p:spPr>
          <p:txBody>
            <a:bodyPr wrap="none">
              <a:spAutoFit/>
            </a:bodyPr>
            <a:lstStyle/>
            <a:p>
              <a:pPr algn="ctr" defTabSz="913943"/>
              <a:r>
                <a:rPr lang="en-US" sz="1199" dirty="0">
                  <a:solidFill>
                    <a:prstClr val="white"/>
                  </a:solidFill>
                  <a:latin typeface="EYInterstate"/>
                </a:rPr>
                <a:t>4</a:t>
              </a:r>
            </a:p>
          </p:txBody>
        </p:sp>
        <p:pic>
          <p:nvPicPr>
            <p:cNvPr id="72" name="Graphic 71" descr="Daily calendar with solid fill">
              <a:extLst>
                <a:ext uri="{FF2B5EF4-FFF2-40B4-BE49-F238E27FC236}">
                  <a16:creationId xmlns:a16="http://schemas.microsoft.com/office/drawing/2014/main" id="{DD1BF1F4-A3A2-44DA-94E5-B9BA637E60D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77963" y="2773548"/>
              <a:ext cx="254134" cy="288302"/>
            </a:xfrm>
            <a:prstGeom prst="rect">
              <a:avLst/>
            </a:prstGeom>
          </p:spPr>
        </p:pic>
        <p:sp>
          <p:nvSpPr>
            <p:cNvPr id="73" name="Rectangle 11">
              <a:extLst>
                <a:ext uri="{FF2B5EF4-FFF2-40B4-BE49-F238E27FC236}">
                  <a16:creationId xmlns:a16="http://schemas.microsoft.com/office/drawing/2014/main" id="{51CD8385-50FA-4FE1-9F40-727E07F51973}"/>
                </a:ext>
              </a:extLst>
            </p:cNvPr>
            <p:cNvSpPr/>
            <p:nvPr/>
          </p:nvSpPr>
          <p:spPr>
            <a:xfrm>
              <a:off x="3719826" y="2784425"/>
              <a:ext cx="280846" cy="276999"/>
            </a:xfrm>
            <a:prstGeom prst="rect">
              <a:avLst/>
            </a:prstGeom>
          </p:spPr>
          <p:txBody>
            <a:bodyPr wrap="none">
              <a:spAutoFit/>
            </a:bodyPr>
            <a:lstStyle/>
            <a:p>
              <a:pPr algn="ctr" defTabSz="913943"/>
              <a:r>
                <a:rPr lang="en-US" sz="1199" dirty="0">
                  <a:solidFill>
                    <a:prstClr val="white"/>
                  </a:solidFill>
                  <a:latin typeface="EYInterstate"/>
                </a:rPr>
                <a:t>5</a:t>
              </a:r>
            </a:p>
          </p:txBody>
        </p:sp>
        <p:pic>
          <p:nvPicPr>
            <p:cNvPr id="74" name="Graphic 73" descr="Target Audience with solid fill">
              <a:extLst>
                <a:ext uri="{FF2B5EF4-FFF2-40B4-BE49-F238E27FC236}">
                  <a16:creationId xmlns:a16="http://schemas.microsoft.com/office/drawing/2014/main" id="{46DA596B-6F3C-4626-8A85-06E75294A2C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30574" y="2773548"/>
              <a:ext cx="254133" cy="288302"/>
            </a:xfrm>
            <a:prstGeom prst="rect">
              <a:avLst/>
            </a:prstGeom>
          </p:spPr>
        </p:pic>
        <p:sp>
          <p:nvSpPr>
            <p:cNvPr id="75" name="Rectangle 12">
              <a:extLst>
                <a:ext uri="{FF2B5EF4-FFF2-40B4-BE49-F238E27FC236}">
                  <a16:creationId xmlns:a16="http://schemas.microsoft.com/office/drawing/2014/main" id="{6613FE72-2B92-4295-AD0E-BE7AFDAB9470}"/>
                </a:ext>
              </a:extLst>
            </p:cNvPr>
            <p:cNvSpPr/>
            <p:nvPr/>
          </p:nvSpPr>
          <p:spPr>
            <a:xfrm>
              <a:off x="4272435" y="2784425"/>
              <a:ext cx="280846" cy="276999"/>
            </a:xfrm>
            <a:prstGeom prst="rect">
              <a:avLst/>
            </a:prstGeom>
          </p:spPr>
          <p:txBody>
            <a:bodyPr wrap="none">
              <a:spAutoFit/>
            </a:bodyPr>
            <a:lstStyle/>
            <a:p>
              <a:pPr algn="ctr" defTabSz="913943"/>
              <a:r>
                <a:rPr lang="en-US" sz="1199" dirty="0">
                  <a:solidFill>
                    <a:prstClr val="white"/>
                  </a:solidFill>
                  <a:latin typeface="EYInterstate"/>
                </a:rPr>
                <a:t>6</a:t>
              </a:r>
            </a:p>
          </p:txBody>
        </p:sp>
        <p:pic>
          <p:nvPicPr>
            <p:cNvPr id="76" name="Graphic 75" descr="Cycle with people with solid fill">
              <a:extLst>
                <a:ext uri="{FF2B5EF4-FFF2-40B4-BE49-F238E27FC236}">
                  <a16:creationId xmlns:a16="http://schemas.microsoft.com/office/drawing/2014/main" id="{91BED56D-BFF3-4D2A-B31C-7D0AA6F7E30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458671" y="2773548"/>
              <a:ext cx="254134" cy="288302"/>
            </a:xfrm>
            <a:prstGeom prst="rect">
              <a:avLst/>
            </a:prstGeom>
          </p:spPr>
        </p:pic>
      </p:grpSp>
      <p:sp>
        <p:nvSpPr>
          <p:cNvPr id="78" name="Date Placeholder 3">
            <a:extLst>
              <a:ext uri="{FF2B5EF4-FFF2-40B4-BE49-F238E27FC236}">
                <a16:creationId xmlns:a16="http://schemas.microsoft.com/office/drawing/2014/main" id="{CA606E8C-AAA5-4BCE-BA5B-2BEE3532C543}"/>
              </a:ext>
            </a:extLst>
          </p:cNvPr>
          <p:cNvSpPr txBox="1">
            <a:spLocks/>
          </p:cNvSpPr>
          <p:nvPr/>
        </p:nvSpPr>
        <p:spPr>
          <a:xfrm>
            <a:off x="4247449" y="6577892"/>
            <a:ext cx="3697102" cy="179906"/>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43"/>
            <a:r>
              <a:rPr lang="en-US" sz="999" dirty="0">
                <a:solidFill>
                  <a:prstClr val="white"/>
                </a:solidFill>
              </a:rPr>
              <a:t>Reliance restricted and confidential – Only for Internal Use</a:t>
            </a:r>
          </a:p>
        </p:txBody>
      </p:sp>
      <p:sp>
        <p:nvSpPr>
          <p:cNvPr id="77" name="Rectangle 76">
            <a:extLst>
              <a:ext uri="{FF2B5EF4-FFF2-40B4-BE49-F238E27FC236}">
                <a16:creationId xmlns:a16="http://schemas.microsoft.com/office/drawing/2014/main" id="{D783F838-71FF-43F3-883F-2F83CF8B595D}"/>
              </a:ext>
            </a:extLst>
          </p:cNvPr>
          <p:cNvSpPr/>
          <p:nvPr/>
        </p:nvSpPr>
        <p:spPr bwMode="auto">
          <a:xfrm>
            <a:off x="794682" y="1422069"/>
            <a:ext cx="10830123" cy="795174"/>
          </a:xfrm>
          <a:prstGeom prst="rect">
            <a:avLst/>
          </a:prstGeom>
          <a:solidFill>
            <a:srgbClr val="CCCBCD"/>
          </a:solidFill>
          <a:ln>
            <a:noFill/>
          </a:ln>
        </p:spPr>
        <p:txBody>
          <a:bodyPr rot="0" spcFirstLastPara="0" vertOverflow="overflow" horzOverflow="overflow" vert="horz" wrap="square" lIns="137089" tIns="395794" rIns="137089" bIns="137089" numCol="1" spcCol="0" rtlCol="0" fromWordArt="0" anchor="ctr" anchorCtr="0" forceAA="0" compatLnSpc="1">
            <a:prstTxWarp prst="textNoShape">
              <a:avLst/>
            </a:prstTxWarp>
            <a:noAutofit/>
          </a:bodyPr>
          <a:lstStyle/>
          <a:p>
            <a:pPr algn="ctr" defTabSz="913943">
              <a:spcAft>
                <a:spcPts val="600"/>
              </a:spcAft>
            </a:pPr>
            <a:r>
              <a:rPr lang="en-US" sz="1200" b="1" dirty="0">
                <a:solidFill>
                  <a:schemeClr val="bg2"/>
                </a:solidFill>
                <a:latin typeface="+mj-lt"/>
              </a:rPr>
              <a:t>Commercial Due Diligence </a:t>
            </a:r>
            <a:r>
              <a:rPr lang="en-US" sz="1200" dirty="0">
                <a:solidFill>
                  <a:schemeClr val="bg2"/>
                </a:solidFill>
                <a:latin typeface="+mj-lt"/>
              </a:rPr>
              <a:t>focuses on the Target’s market and competition landscape, whereas </a:t>
            </a:r>
            <a:r>
              <a:rPr lang="en-US" sz="1200" b="1" dirty="0">
                <a:solidFill>
                  <a:schemeClr val="bg2"/>
                </a:solidFill>
                <a:latin typeface="+mj-lt"/>
              </a:rPr>
              <a:t>Operational Due Diligence </a:t>
            </a:r>
            <a:r>
              <a:rPr lang="en-US" sz="1200" dirty="0">
                <a:solidFill>
                  <a:schemeClr val="bg2"/>
                </a:solidFill>
                <a:latin typeface="+mj-lt"/>
              </a:rPr>
              <a:t>provides an </a:t>
            </a:r>
            <a:r>
              <a:rPr lang="en-US" sz="1200" b="1" dirty="0">
                <a:solidFill>
                  <a:schemeClr val="bg2"/>
                </a:solidFill>
                <a:latin typeface="+mj-lt"/>
              </a:rPr>
              <a:t>in-depth</a:t>
            </a:r>
            <a:r>
              <a:rPr lang="en-US" sz="1200" dirty="0">
                <a:solidFill>
                  <a:schemeClr val="bg2"/>
                </a:solidFill>
                <a:latin typeface="+mj-lt"/>
              </a:rPr>
              <a:t> perspective to </a:t>
            </a:r>
            <a:r>
              <a:rPr lang="en-US" sz="1200" b="1" dirty="0">
                <a:solidFill>
                  <a:schemeClr val="bg2"/>
                </a:solidFill>
                <a:latin typeface="+mj-lt"/>
              </a:rPr>
              <a:t>margin improvements</a:t>
            </a:r>
            <a:endParaRPr lang="en-IN" sz="1199" b="1" dirty="0">
              <a:solidFill>
                <a:schemeClr val="bg2"/>
              </a:solidFill>
              <a:latin typeface="+mj-lt"/>
              <a:cs typeface="Arial" pitchFamily="34" charset="0"/>
            </a:endParaRPr>
          </a:p>
        </p:txBody>
      </p:sp>
      <p:sp>
        <p:nvSpPr>
          <p:cNvPr id="79" name="Rectangle 78">
            <a:extLst>
              <a:ext uri="{FF2B5EF4-FFF2-40B4-BE49-F238E27FC236}">
                <a16:creationId xmlns:a16="http://schemas.microsoft.com/office/drawing/2014/main" id="{717085EE-A9B8-4D6B-8E5C-7DC7A2AF4B0A}"/>
              </a:ext>
            </a:extLst>
          </p:cNvPr>
          <p:cNvSpPr/>
          <p:nvPr/>
        </p:nvSpPr>
        <p:spPr bwMode="auto">
          <a:xfrm>
            <a:off x="616900" y="1305874"/>
            <a:ext cx="2333688" cy="400377"/>
          </a:xfrm>
          <a:prstGeom prst="rect">
            <a:avLst/>
          </a:prstGeom>
          <a:solidFill>
            <a:schemeClr val="bg1"/>
          </a:solidFill>
          <a:ln w="19050">
            <a:solidFill>
              <a:schemeClr val="tx2"/>
            </a:solidFill>
          </a:ln>
        </p:spPr>
        <p:txBody>
          <a:bodyPr rot="0" spcFirstLastPara="0" vertOverflow="overflow" horzOverflow="overflow" vert="horz" wrap="square" lIns="137089" tIns="137089" rIns="137089" bIns="137089" numCol="1" spcCol="0" rtlCol="0" fromWordArt="0" anchor="ctr" anchorCtr="0" forceAA="0" compatLnSpc="1">
            <a:prstTxWarp prst="textNoShape">
              <a:avLst/>
            </a:prstTxWarp>
            <a:noAutofit/>
          </a:bodyPr>
          <a:lstStyle/>
          <a:p>
            <a:pPr algn="ctr" defTabSz="913943">
              <a:spcAft>
                <a:spcPts val="600"/>
              </a:spcAft>
            </a:pPr>
            <a:r>
              <a:rPr lang="en-IN" sz="1399" b="1" dirty="0">
                <a:solidFill>
                  <a:srgbClr val="000000"/>
                </a:solidFill>
                <a:latin typeface="EYInterstate Light"/>
                <a:cs typeface="Arial" pitchFamily="34" charset="0"/>
              </a:rPr>
              <a:t>Key differences</a:t>
            </a:r>
          </a:p>
        </p:txBody>
      </p:sp>
      <p:grpSp>
        <p:nvGrpSpPr>
          <p:cNvPr id="24" name="Group 23">
            <a:extLst>
              <a:ext uri="{FF2B5EF4-FFF2-40B4-BE49-F238E27FC236}">
                <a16:creationId xmlns:a16="http://schemas.microsoft.com/office/drawing/2014/main" id="{5C11C22E-11D4-4CCE-AF07-A000C495F56F}"/>
              </a:ext>
            </a:extLst>
          </p:cNvPr>
          <p:cNvGrpSpPr/>
          <p:nvPr/>
        </p:nvGrpSpPr>
        <p:grpSpPr>
          <a:xfrm>
            <a:off x="1279621" y="2523256"/>
            <a:ext cx="851456" cy="432000"/>
            <a:chOff x="1279621" y="2523256"/>
            <a:chExt cx="851456" cy="432000"/>
          </a:xfrm>
        </p:grpSpPr>
        <p:cxnSp>
          <p:nvCxnSpPr>
            <p:cNvPr id="82" name="Straight Connector 81">
              <a:extLst>
                <a:ext uri="{FF2B5EF4-FFF2-40B4-BE49-F238E27FC236}">
                  <a16:creationId xmlns:a16="http://schemas.microsoft.com/office/drawing/2014/main" id="{2AC55484-CE61-48AF-BA20-D7758AFC688E}"/>
                </a:ext>
              </a:extLst>
            </p:cNvPr>
            <p:cNvCxnSpPr>
              <a:cxnSpLocks/>
            </p:cNvCxnSpPr>
            <p:nvPr/>
          </p:nvCxnSpPr>
          <p:spPr>
            <a:xfrm>
              <a:off x="1279621" y="2739256"/>
              <a:ext cx="385693" cy="0"/>
            </a:xfrm>
            <a:prstGeom prst="line">
              <a:avLst/>
            </a:prstGeom>
            <a:noFill/>
            <a:ln w="19050" cap="sq" cmpd="sng" algn="ctr">
              <a:solidFill>
                <a:schemeClr val="tx2"/>
              </a:solidFill>
              <a:prstDash val="sysDash"/>
              <a:miter lim="800000"/>
              <a:tailEnd type="none"/>
            </a:ln>
            <a:effectLst/>
          </p:spPr>
        </p:cxnSp>
        <p:grpSp>
          <p:nvGrpSpPr>
            <p:cNvPr id="21" name="Group 20">
              <a:extLst>
                <a:ext uri="{FF2B5EF4-FFF2-40B4-BE49-F238E27FC236}">
                  <a16:creationId xmlns:a16="http://schemas.microsoft.com/office/drawing/2014/main" id="{00C36B1A-E735-44C1-8771-D210D9FDC81D}"/>
                </a:ext>
              </a:extLst>
            </p:cNvPr>
            <p:cNvGrpSpPr/>
            <p:nvPr/>
          </p:nvGrpSpPr>
          <p:grpSpPr>
            <a:xfrm>
              <a:off x="1699077" y="2523256"/>
              <a:ext cx="432000" cy="432000"/>
              <a:chOff x="1699077" y="2523256"/>
              <a:chExt cx="432000" cy="432000"/>
            </a:xfrm>
          </p:grpSpPr>
          <p:sp>
            <p:nvSpPr>
              <p:cNvPr id="83" name="Freeform 40890">
                <a:extLst>
                  <a:ext uri="{FF2B5EF4-FFF2-40B4-BE49-F238E27FC236}">
                    <a16:creationId xmlns:a16="http://schemas.microsoft.com/office/drawing/2014/main" id="{DFD09825-BE3F-4047-9DAF-397C27DC0370}"/>
                  </a:ext>
                </a:extLst>
              </p:cNvPr>
              <p:cNvSpPr/>
              <p:nvPr/>
            </p:nvSpPr>
            <p:spPr>
              <a:xfrm>
                <a:off x="1699077" y="2523256"/>
                <a:ext cx="432000" cy="432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799" dirty="0">
                  <a:solidFill>
                    <a:prstClr val="white"/>
                  </a:solidFill>
                  <a:latin typeface="EYInterstate Light"/>
                </a:endParaRPr>
              </a:p>
            </p:txBody>
          </p:sp>
          <p:pic>
            <p:nvPicPr>
              <p:cNvPr id="90" name="Graphic 89" descr="Cycle with people with solid fill">
                <a:extLst>
                  <a:ext uri="{FF2B5EF4-FFF2-40B4-BE49-F238E27FC236}">
                    <a16:creationId xmlns:a16="http://schemas.microsoft.com/office/drawing/2014/main" id="{0430ABA3-DA3B-4DC5-95CF-BC6478076A7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726967" y="2551146"/>
                <a:ext cx="376221" cy="376221"/>
              </a:xfrm>
              <a:prstGeom prst="rect">
                <a:avLst/>
              </a:prstGeom>
            </p:spPr>
          </p:pic>
        </p:grpSp>
      </p:grpSp>
      <p:sp>
        <p:nvSpPr>
          <p:cNvPr id="92" name="TextBox 91">
            <a:extLst>
              <a:ext uri="{FF2B5EF4-FFF2-40B4-BE49-F238E27FC236}">
                <a16:creationId xmlns:a16="http://schemas.microsoft.com/office/drawing/2014/main" id="{F19A72A7-DB50-46C5-A4DE-80A0B2B454D9}"/>
              </a:ext>
            </a:extLst>
          </p:cNvPr>
          <p:cNvSpPr txBox="1"/>
          <p:nvPr/>
        </p:nvSpPr>
        <p:spPr>
          <a:xfrm>
            <a:off x="2484000" y="2569979"/>
            <a:ext cx="9140805"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pPr defTabSz="913943"/>
            <a:r>
              <a:rPr lang="en-US" dirty="0">
                <a:solidFill>
                  <a:prstClr val="white"/>
                </a:solidFill>
                <a:latin typeface="EYInterstate Light"/>
              </a:rPr>
              <a:t>The current operating and organizational model may require intervention in order to be aligned with the company growth plan, an ODD would show the areas that could generate </a:t>
            </a:r>
            <a:r>
              <a:rPr lang="en-US" b="1" dirty="0">
                <a:solidFill>
                  <a:prstClr val="white"/>
                </a:solidFill>
                <a:latin typeface="EYInterstate Light"/>
              </a:rPr>
              <a:t>additional value </a:t>
            </a:r>
            <a:r>
              <a:rPr lang="en-US" dirty="0">
                <a:solidFill>
                  <a:prstClr val="white"/>
                </a:solidFill>
                <a:latin typeface="EYInterstate Light"/>
              </a:rPr>
              <a:t>and highlight its </a:t>
            </a:r>
            <a:r>
              <a:rPr lang="en-US" b="1" dirty="0">
                <a:solidFill>
                  <a:prstClr val="white"/>
                </a:solidFill>
                <a:latin typeface="EYInterstate Light"/>
              </a:rPr>
              <a:t>strengths and weaknesses</a:t>
            </a:r>
            <a:endParaRPr lang="en-US" dirty="0">
              <a:solidFill>
                <a:prstClr val="white"/>
              </a:solidFill>
              <a:latin typeface="EYInterstate Light"/>
            </a:endParaRPr>
          </a:p>
        </p:txBody>
      </p:sp>
      <p:sp>
        <p:nvSpPr>
          <p:cNvPr id="108" name="TextBox 107">
            <a:extLst>
              <a:ext uri="{FF2B5EF4-FFF2-40B4-BE49-F238E27FC236}">
                <a16:creationId xmlns:a16="http://schemas.microsoft.com/office/drawing/2014/main" id="{7D80ADE0-B05C-407A-91E8-6A3C8DF20338}"/>
              </a:ext>
            </a:extLst>
          </p:cNvPr>
          <p:cNvSpPr txBox="1"/>
          <p:nvPr/>
        </p:nvSpPr>
        <p:spPr>
          <a:xfrm>
            <a:off x="2484000" y="3100200"/>
            <a:ext cx="9140805"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pPr defTabSz="913943"/>
            <a:r>
              <a:rPr lang="en-US" dirty="0">
                <a:solidFill>
                  <a:schemeClr val="bg1"/>
                </a:solidFill>
                <a:latin typeface="EYInterstate Light"/>
              </a:rPr>
              <a:t>The </a:t>
            </a:r>
            <a:r>
              <a:rPr lang="en-IN" dirty="0">
                <a:solidFill>
                  <a:schemeClr val="bg1"/>
                </a:solidFill>
                <a:latin typeface="EYInterstate Light" panose="02000506000000020004" pitchFamily="2" charset="0"/>
                <a:cs typeface="+mn-cs"/>
                <a:sym typeface="EYInterstate" pitchFamily="2" charset="0"/>
              </a:rPr>
              <a:t>procurement</a:t>
            </a:r>
            <a:r>
              <a:rPr lang="en-IN" b="0" i="0" u="none" kern="1200" noProof="0" dirty="0">
                <a:solidFill>
                  <a:schemeClr val="bg1"/>
                </a:solidFill>
                <a:latin typeface="EYInterstate Light" panose="02000506000000020004" pitchFamily="2" charset="0"/>
                <a:ea typeface="+mn-ea"/>
                <a:cs typeface="+mn-cs"/>
                <a:sym typeface="EYInterstate" pitchFamily="2" charset="0"/>
              </a:rPr>
              <a:t> and stock management strategy, if not fully implemented, may represent an area to be still </a:t>
            </a:r>
            <a:r>
              <a:rPr lang="en-IN" b="1" i="0" u="none" kern="1200" noProof="0" dirty="0">
                <a:solidFill>
                  <a:schemeClr val="bg1"/>
                </a:solidFill>
                <a:latin typeface="EYInterstate Light" panose="02000506000000020004" pitchFamily="2" charset="0"/>
                <a:ea typeface="+mn-ea"/>
                <a:cs typeface="+mn-cs"/>
                <a:sym typeface="EYInterstate" pitchFamily="2" charset="0"/>
              </a:rPr>
              <a:t>exploited</a:t>
            </a:r>
            <a:r>
              <a:rPr lang="en-IN" b="0" i="0" u="none" kern="1200" noProof="0" dirty="0">
                <a:solidFill>
                  <a:schemeClr val="bg1"/>
                </a:solidFill>
                <a:latin typeface="EYInterstate Light" panose="02000506000000020004" pitchFamily="2" charset="0"/>
                <a:ea typeface="+mn-ea"/>
                <a:cs typeface="+mn-cs"/>
                <a:sym typeface="EYInterstate" pitchFamily="2" charset="0"/>
              </a:rPr>
              <a:t> where </a:t>
            </a:r>
            <a:r>
              <a:rPr lang="en-IN" b="1" i="0" u="none" kern="1200" noProof="0" dirty="0">
                <a:solidFill>
                  <a:schemeClr val="bg1"/>
                </a:solidFill>
                <a:latin typeface="EYInterstate Light" panose="02000506000000020004" pitchFamily="2" charset="0"/>
                <a:ea typeface="+mn-ea"/>
                <a:cs typeface="+mn-cs"/>
                <a:sym typeface="EYInterstate" pitchFamily="2" charset="0"/>
              </a:rPr>
              <a:t>new initiatives </a:t>
            </a:r>
            <a:r>
              <a:rPr lang="en-IN" b="0" i="0" u="none" kern="1200" noProof="0" dirty="0">
                <a:solidFill>
                  <a:schemeClr val="bg1"/>
                </a:solidFill>
                <a:latin typeface="EYInterstate Light" panose="02000506000000020004" pitchFamily="2" charset="0"/>
                <a:ea typeface="+mn-ea"/>
                <a:cs typeface="+mn-cs"/>
                <a:sym typeface="EYInterstate" pitchFamily="2" charset="0"/>
              </a:rPr>
              <a:t>could arise</a:t>
            </a:r>
            <a:endParaRPr lang="en-US" dirty="0">
              <a:solidFill>
                <a:schemeClr val="bg1"/>
              </a:solidFill>
              <a:latin typeface="EYInterstate Light"/>
            </a:endParaRPr>
          </a:p>
        </p:txBody>
      </p:sp>
      <p:sp>
        <p:nvSpPr>
          <p:cNvPr id="110" name="TextBox 109">
            <a:extLst>
              <a:ext uri="{FF2B5EF4-FFF2-40B4-BE49-F238E27FC236}">
                <a16:creationId xmlns:a16="http://schemas.microsoft.com/office/drawing/2014/main" id="{05D2818D-6395-4970-B943-896EC781CAA3}"/>
              </a:ext>
            </a:extLst>
          </p:cNvPr>
          <p:cNvSpPr txBox="1"/>
          <p:nvPr/>
        </p:nvSpPr>
        <p:spPr>
          <a:xfrm>
            <a:off x="2484000" y="3630421"/>
            <a:ext cx="9140805"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pPr defTabSz="913943"/>
            <a:r>
              <a:rPr lang="en-US" dirty="0">
                <a:solidFill>
                  <a:schemeClr val="bg1"/>
                </a:solidFill>
                <a:latin typeface="EYInterstate Light"/>
              </a:rPr>
              <a:t>Analyzing the </a:t>
            </a:r>
            <a:r>
              <a:rPr lang="en-IN" b="1" kern="1200" dirty="0">
                <a:solidFill>
                  <a:schemeClr val="bg1"/>
                </a:solidFill>
                <a:effectLst/>
                <a:latin typeface="EYInterstate Light" panose="02000506000000020004" pitchFamily="2" charset="0"/>
                <a:ea typeface="+mn-ea"/>
                <a:cs typeface="+mn-cs"/>
              </a:rPr>
              <a:t>production performances </a:t>
            </a:r>
            <a:r>
              <a:rPr lang="en-IN" b="0" kern="1200" dirty="0">
                <a:solidFill>
                  <a:schemeClr val="bg1"/>
                </a:solidFill>
                <a:effectLst/>
                <a:latin typeface="EYInterstate Light" panose="02000506000000020004" pitchFamily="2" charset="0"/>
                <a:ea typeface="+mn-ea"/>
                <a:cs typeface="+mn-cs"/>
              </a:rPr>
              <a:t>and the </a:t>
            </a:r>
            <a:r>
              <a:rPr lang="en-IN" b="1" kern="1200" dirty="0">
                <a:solidFill>
                  <a:schemeClr val="bg1"/>
                </a:solidFill>
                <a:effectLst/>
                <a:latin typeface="EYInterstate Light" panose="02000506000000020004" pitchFamily="2" charset="0"/>
                <a:ea typeface="+mn-ea"/>
                <a:cs typeface="+mn-cs"/>
              </a:rPr>
              <a:t>supply chain peculiarities </a:t>
            </a:r>
            <a:r>
              <a:rPr lang="en-IN" b="0" kern="1200" dirty="0">
                <a:solidFill>
                  <a:schemeClr val="bg1"/>
                </a:solidFill>
                <a:effectLst/>
                <a:latin typeface="EYInterstate Light" panose="02000506000000020004" pitchFamily="2" charset="0"/>
                <a:ea typeface="+mn-ea"/>
                <a:cs typeface="+mn-cs"/>
              </a:rPr>
              <a:t>would bring out </a:t>
            </a:r>
            <a:r>
              <a:rPr lang="en-IN" b="1" kern="1200" dirty="0">
                <a:solidFill>
                  <a:schemeClr val="bg1"/>
                </a:solidFill>
                <a:effectLst/>
                <a:latin typeface="EYInterstate Light" panose="02000506000000020004" pitchFamily="2" charset="0"/>
                <a:ea typeface="+mn-ea"/>
                <a:cs typeface="+mn-cs"/>
              </a:rPr>
              <a:t>potential upsides </a:t>
            </a:r>
            <a:r>
              <a:rPr lang="en-IN" b="0" kern="1200" dirty="0">
                <a:solidFill>
                  <a:schemeClr val="bg1"/>
                </a:solidFill>
                <a:effectLst/>
                <a:latin typeface="EYInterstate Light" panose="02000506000000020004" pitchFamily="2" charset="0"/>
                <a:ea typeface="+mn-ea"/>
                <a:cs typeface="+mn-cs"/>
              </a:rPr>
              <a:t>that could support </a:t>
            </a:r>
            <a:r>
              <a:rPr lang="en-IN" b="1" kern="1200" dirty="0">
                <a:solidFill>
                  <a:schemeClr val="bg1"/>
                </a:solidFill>
                <a:effectLst/>
                <a:latin typeface="EYInterstate Light" panose="02000506000000020004" pitchFamily="2" charset="0"/>
                <a:ea typeface="+mn-ea"/>
                <a:cs typeface="+mn-cs"/>
              </a:rPr>
              <a:t>future growth </a:t>
            </a:r>
            <a:r>
              <a:rPr lang="en-IN" b="0" kern="1200" dirty="0">
                <a:solidFill>
                  <a:schemeClr val="bg1"/>
                </a:solidFill>
                <a:effectLst/>
                <a:latin typeface="EYInterstate Light" panose="02000506000000020004" pitchFamily="2" charset="0"/>
                <a:ea typeface="+mn-ea"/>
                <a:cs typeface="+mn-cs"/>
              </a:rPr>
              <a:t>and lay the foundation for </a:t>
            </a:r>
            <a:r>
              <a:rPr lang="en-IN" b="1" kern="1200" dirty="0">
                <a:solidFill>
                  <a:schemeClr val="bg1"/>
                </a:solidFill>
                <a:effectLst/>
                <a:latin typeface="EYInterstate Light" panose="02000506000000020004" pitchFamily="2" charset="0"/>
                <a:ea typeface="+mn-ea"/>
                <a:cs typeface="+mn-cs"/>
              </a:rPr>
              <a:t>volumes increases</a:t>
            </a:r>
            <a:endParaRPr lang="en-US" b="1" dirty="0">
              <a:solidFill>
                <a:schemeClr val="bg1"/>
              </a:solidFill>
              <a:latin typeface="EYInterstate Light"/>
            </a:endParaRPr>
          </a:p>
        </p:txBody>
      </p:sp>
      <p:sp>
        <p:nvSpPr>
          <p:cNvPr id="111" name="TextBox 110">
            <a:extLst>
              <a:ext uri="{FF2B5EF4-FFF2-40B4-BE49-F238E27FC236}">
                <a16:creationId xmlns:a16="http://schemas.microsoft.com/office/drawing/2014/main" id="{2A8CA2AC-7CAA-4C2B-8D74-70B37F4E07A5}"/>
              </a:ext>
            </a:extLst>
          </p:cNvPr>
          <p:cNvSpPr txBox="1"/>
          <p:nvPr/>
        </p:nvSpPr>
        <p:spPr>
          <a:xfrm>
            <a:off x="2484000" y="4160641"/>
            <a:ext cx="9140805"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pPr defTabSz="913943"/>
            <a:r>
              <a:rPr lang="en-IN" b="0" i="0" u="none" kern="1200" noProof="0" dirty="0">
                <a:solidFill>
                  <a:schemeClr val="bg1"/>
                </a:solidFill>
                <a:latin typeface="EYInterstate Light" panose="02000506000000020004" pitchFamily="2" charset="0"/>
                <a:ea typeface="+mn-ea"/>
                <a:cs typeface="+mn-cs"/>
                <a:sym typeface="EYInterstate" pitchFamily="2" charset="0"/>
              </a:rPr>
              <a:t>Refocusing on </a:t>
            </a:r>
            <a:r>
              <a:rPr lang="en-IN" b="1" i="0" u="none" kern="1200" noProof="0" dirty="0">
                <a:solidFill>
                  <a:schemeClr val="bg1"/>
                </a:solidFill>
                <a:latin typeface="EYInterstate Light" panose="02000506000000020004" pitchFamily="2" charset="0"/>
                <a:ea typeface="+mn-ea"/>
                <a:cs typeface="+mn-cs"/>
                <a:sym typeface="EYInterstate" pitchFamily="2" charset="0"/>
              </a:rPr>
              <a:t>medium/long-term initiatives</a:t>
            </a:r>
            <a:r>
              <a:rPr lang="en-IN" b="0" i="0" u="none" kern="1200" noProof="0" dirty="0">
                <a:solidFill>
                  <a:schemeClr val="bg1"/>
                </a:solidFill>
                <a:latin typeface="EYInterstate Light" panose="02000506000000020004" pitchFamily="2" charset="0"/>
                <a:ea typeface="+mn-ea"/>
                <a:cs typeface="+mn-cs"/>
                <a:sym typeface="EYInterstate" pitchFamily="2" charset="0"/>
              </a:rPr>
              <a:t>, instead of short-term ones, </a:t>
            </a:r>
            <a:r>
              <a:rPr lang="en-IN" dirty="0">
                <a:solidFill>
                  <a:schemeClr val="bg1"/>
                </a:solidFill>
                <a:latin typeface="EYInterstate Light" panose="02000506000000020004" pitchFamily="2" charset="0"/>
                <a:cs typeface="+mn-cs"/>
                <a:sym typeface="EYInterstate" pitchFamily="2" charset="0"/>
              </a:rPr>
              <a:t>inspecting R&amp;D </a:t>
            </a:r>
            <a:r>
              <a:rPr lang="en-IN" b="1" dirty="0">
                <a:solidFill>
                  <a:schemeClr val="bg1"/>
                </a:solidFill>
                <a:latin typeface="EYInterstate Light" panose="02000506000000020004" pitchFamily="2" charset="0"/>
                <a:cs typeface="+mn-cs"/>
                <a:sym typeface="EYInterstate" pitchFamily="2" charset="0"/>
              </a:rPr>
              <a:t>organization and strategy </a:t>
            </a:r>
            <a:r>
              <a:rPr lang="en-IN" b="0" i="0" u="none" kern="1200" noProof="0" dirty="0">
                <a:solidFill>
                  <a:schemeClr val="bg1"/>
                </a:solidFill>
                <a:latin typeface="EYInterstate Light" panose="02000506000000020004" pitchFamily="2" charset="0"/>
                <a:ea typeface="+mn-ea"/>
                <a:cs typeface="+mn-cs"/>
                <a:sym typeface="EYInterstate" pitchFamily="2" charset="0"/>
              </a:rPr>
              <a:t>would spotlight areas for </a:t>
            </a:r>
            <a:r>
              <a:rPr lang="en-IN" b="1" i="0" u="none" kern="1200" noProof="0" dirty="0">
                <a:solidFill>
                  <a:schemeClr val="bg1"/>
                </a:solidFill>
                <a:latin typeface="EYInterstate Light" panose="02000506000000020004" pitchFamily="2" charset="0"/>
                <a:ea typeface="+mn-ea"/>
                <a:cs typeface="+mn-cs"/>
                <a:sym typeface="EYInterstate" pitchFamily="2" charset="0"/>
              </a:rPr>
              <a:t>future development </a:t>
            </a:r>
            <a:endParaRPr lang="en-US" b="1" dirty="0">
              <a:solidFill>
                <a:schemeClr val="bg1"/>
              </a:solidFill>
              <a:latin typeface="EYInterstate Light"/>
            </a:endParaRPr>
          </a:p>
        </p:txBody>
      </p:sp>
      <p:grpSp>
        <p:nvGrpSpPr>
          <p:cNvPr id="125" name="Group 124">
            <a:extLst>
              <a:ext uri="{FF2B5EF4-FFF2-40B4-BE49-F238E27FC236}">
                <a16:creationId xmlns:a16="http://schemas.microsoft.com/office/drawing/2014/main" id="{10A111FF-3E6E-486F-AAB0-5A23BBE25225}"/>
              </a:ext>
            </a:extLst>
          </p:cNvPr>
          <p:cNvGrpSpPr/>
          <p:nvPr/>
        </p:nvGrpSpPr>
        <p:grpSpPr>
          <a:xfrm>
            <a:off x="1279621" y="3053476"/>
            <a:ext cx="851456" cy="432000"/>
            <a:chOff x="1279621" y="3053476"/>
            <a:chExt cx="851456" cy="432000"/>
          </a:xfrm>
        </p:grpSpPr>
        <p:cxnSp>
          <p:nvCxnSpPr>
            <p:cNvPr id="94" name="Straight Connector 93">
              <a:extLst>
                <a:ext uri="{FF2B5EF4-FFF2-40B4-BE49-F238E27FC236}">
                  <a16:creationId xmlns:a16="http://schemas.microsoft.com/office/drawing/2014/main" id="{87B95006-B8A2-42C8-AC28-7C8F92CB6DAF}"/>
                </a:ext>
              </a:extLst>
            </p:cNvPr>
            <p:cNvCxnSpPr>
              <a:cxnSpLocks/>
            </p:cNvCxnSpPr>
            <p:nvPr/>
          </p:nvCxnSpPr>
          <p:spPr>
            <a:xfrm>
              <a:off x="1279621" y="3269477"/>
              <a:ext cx="385693" cy="0"/>
            </a:xfrm>
            <a:prstGeom prst="line">
              <a:avLst/>
            </a:prstGeom>
            <a:noFill/>
            <a:ln w="19050" cap="sq" cmpd="sng" algn="ctr">
              <a:solidFill>
                <a:schemeClr val="tx2"/>
              </a:solidFill>
              <a:prstDash val="sysDash"/>
              <a:miter lim="800000"/>
              <a:tailEnd type="none"/>
            </a:ln>
            <a:effectLst/>
          </p:spPr>
        </p:cxnSp>
        <p:grpSp>
          <p:nvGrpSpPr>
            <p:cNvPr id="124" name="Group 123">
              <a:extLst>
                <a:ext uri="{FF2B5EF4-FFF2-40B4-BE49-F238E27FC236}">
                  <a16:creationId xmlns:a16="http://schemas.microsoft.com/office/drawing/2014/main" id="{0DF55B70-B2BF-4AEE-947F-EE5884546ED2}"/>
                </a:ext>
              </a:extLst>
            </p:cNvPr>
            <p:cNvGrpSpPr/>
            <p:nvPr/>
          </p:nvGrpSpPr>
          <p:grpSpPr>
            <a:xfrm>
              <a:off x="1699077" y="3053476"/>
              <a:ext cx="432000" cy="432000"/>
              <a:chOff x="1699077" y="3053476"/>
              <a:chExt cx="432000" cy="432000"/>
            </a:xfrm>
          </p:grpSpPr>
          <p:sp>
            <p:nvSpPr>
              <p:cNvPr id="96" name="Freeform 40890">
                <a:extLst>
                  <a:ext uri="{FF2B5EF4-FFF2-40B4-BE49-F238E27FC236}">
                    <a16:creationId xmlns:a16="http://schemas.microsoft.com/office/drawing/2014/main" id="{E04A8EC7-FECF-4E28-824A-5016C1AD1534}"/>
                  </a:ext>
                </a:extLst>
              </p:cNvPr>
              <p:cNvSpPr/>
              <p:nvPr/>
            </p:nvSpPr>
            <p:spPr>
              <a:xfrm>
                <a:off x="1699077" y="3053476"/>
                <a:ext cx="432000" cy="432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799" dirty="0">
                  <a:solidFill>
                    <a:prstClr val="white"/>
                  </a:solidFill>
                  <a:latin typeface="EYInterstate Light"/>
                </a:endParaRPr>
              </a:p>
            </p:txBody>
          </p:sp>
          <p:pic>
            <p:nvPicPr>
              <p:cNvPr id="112" name="Graphic 111" descr="Warehouse with solid fill">
                <a:extLst>
                  <a:ext uri="{FF2B5EF4-FFF2-40B4-BE49-F238E27FC236}">
                    <a16:creationId xmlns:a16="http://schemas.microsoft.com/office/drawing/2014/main" id="{6FB3AC31-9E7A-4983-A2B9-E0DD5467A4F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782497" y="3136428"/>
                <a:ext cx="265160" cy="266097"/>
              </a:xfrm>
              <a:prstGeom prst="rect">
                <a:avLst/>
              </a:prstGeom>
            </p:spPr>
          </p:pic>
        </p:grpSp>
      </p:grpSp>
      <p:grpSp>
        <p:nvGrpSpPr>
          <p:cNvPr id="123" name="Group 122">
            <a:extLst>
              <a:ext uri="{FF2B5EF4-FFF2-40B4-BE49-F238E27FC236}">
                <a16:creationId xmlns:a16="http://schemas.microsoft.com/office/drawing/2014/main" id="{69E2AB20-C198-412E-9650-1960595A9FBC}"/>
              </a:ext>
            </a:extLst>
          </p:cNvPr>
          <p:cNvGrpSpPr/>
          <p:nvPr/>
        </p:nvGrpSpPr>
        <p:grpSpPr>
          <a:xfrm>
            <a:off x="1279621" y="3583698"/>
            <a:ext cx="851456" cy="432000"/>
            <a:chOff x="1279621" y="3583698"/>
            <a:chExt cx="851456" cy="432000"/>
          </a:xfrm>
        </p:grpSpPr>
        <p:cxnSp>
          <p:nvCxnSpPr>
            <p:cNvPr id="99" name="Straight Connector 98">
              <a:extLst>
                <a:ext uri="{FF2B5EF4-FFF2-40B4-BE49-F238E27FC236}">
                  <a16:creationId xmlns:a16="http://schemas.microsoft.com/office/drawing/2014/main" id="{A48904B8-48B0-4D78-8D6E-A4AA9DC07D9F}"/>
                </a:ext>
              </a:extLst>
            </p:cNvPr>
            <p:cNvCxnSpPr>
              <a:cxnSpLocks/>
            </p:cNvCxnSpPr>
            <p:nvPr/>
          </p:nvCxnSpPr>
          <p:spPr>
            <a:xfrm>
              <a:off x="1279621" y="3799698"/>
              <a:ext cx="385693" cy="0"/>
            </a:xfrm>
            <a:prstGeom prst="line">
              <a:avLst/>
            </a:prstGeom>
            <a:noFill/>
            <a:ln w="19050" cap="sq" cmpd="sng" algn="ctr">
              <a:solidFill>
                <a:schemeClr val="tx2"/>
              </a:solidFill>
              <a:prstDash val="sysDash"/>
              <a:miter lim="800000"/>
              <a:tailEnd type="none"/>
            </a:ln>
            <a:effectLst/>
          </p:spPr>
        </p:cxnSp>
        <p:grpSp>
          <p:nvGrpSpPr>
            <p:cNvPr id="122" name="Group 121">
              <a:extLst>
                <a:ext uri="{FF2B5EF4-FFF2-40B4-BE49-F238E27FC236}">
                  <a16:creationId xmlns:a16="http://schemas.microsoft.com/office/drawing/2014/main" id="{EEBF4101-3768-4635-8DF3-07015A108116}"/>
                </a:ext>
              </a:extLst>
            </p:cNvPr>
            <p:cNvGrpSpPr/>
            <p:nvPr/>
          </p:nvGrpSpPr>
          <p:grpSpPr>
            <a:xfrm>
              <a:off x="1699077" y="3583698"/>
              <a:ext cx="432000" cy="432000"/>
              <a:chOff x="1699077" y="3583698"/>
              <a:chExt cx="432000" cy="432000"/>
            </a:xfrm>
          </p:grpSpPr>
          <p:sp>
            <p:nvSpPr>
              <p:cNvPr id="101" name="Freeform 40890">
                <a:extLst>
                  <a:ext uri="{FF2B5EF4-FFF2-40B4-BE49-F238E27FC236}">
                    <a16:creationId xmlns:a16="http://schemas.microsoft.com/office/drawing/2014/main" id="{7F7DB158-ADA4-4020-9963-B03F55FE0E0E}"/>
                  </a:ext>
                </a:extLst>
              </p:cNvPr>
              <p:cNvSpPr/>
              <p:nvPr/>
            </p:nvSpPr>
            <p:spPr>
              <a:xfrm>
                <a:off x="1699077" y="3583698"/>
                <a:ext cx="432000" cy="432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799" dirty="0">
                  <a:solidFill>
                    <a:prstClr val="white"/>
                  </a:solidFill>
                  <a:latin typeface="EYInterstate Light"/>
                </a:endParaRPr>
              </a:p>
            </p:txBody>
          </p:sp>
          <p:pic>
            <p:nvPicPr>
              <p:cNvPr id="113" name="Graphic 112" descr="Factory with solid fill">
                <a:extLst>
                  <a:ext uri="{FF2B5EF4-FFF2-40B4-BE49-F238E27FC236}">
                    <a16:creationId xmlns:a16="http://schemas.microsoft.com/office/drawing/2014/main" id="{69F75B6E-74AC-47DA-B2E3-2792A7AC75E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753077" y="3660488"/>
                <a:ext cx="324000" cy="278421"/>
              </a:xfrm>
              <a:prstGeom prst="rect">
                <a:avLst/>
              </a:prstGeom>
            </p:spPr>
          </p:pic>
        </p:grpSp>
      </p:grpSp>
      <p:grpSp>
        <p:nvGrpSpPr>
          <p:cNvPr id="121" name="Group 120">
            <a:extLst>
              <a:ext uri="{FF2B5EF4-FFF2-40B4-BE49-F238E27FC236}">
                <a16:creationId xmlns:a16="http://schemas.microsoft.com/office/drawing/2014/main" id="{FEB8AA74-79F4-4BDE-AEAA-6E1BF391AADA}"/>
              </a:ext>
            </a:extLst>
          </p:cNvPr>
          <p:cNvGrpSpPr/>
          <p:nvPr/>
        </p:nvGrpSpPr>
        <p:grpSpPr>
          <a:xfrm>
            <a:off x="1279621" y="4113918"/>
            <a:ext cx="851456" cy="432000"/>
            <a:chOff x="1279621" y="4113918"/>
            <a:chExt cx="851456" cy="432000"/>
          </a:xfrm>
        </p:grpSpPr>
        <p:cxnSp>
          <p:nvCxnSpPr>
            <p:cNvPr id="104" name="Straight Connector 103">
              <a:extLst>
                <a:ext uri="{FF2B5EF4-FFF2-40B4-BE49-F238E27FC236}">
                  <a16:creationId xmlns:a16="http://schemas.microsoft.com/office/drawing/2014/main" id="{AE745E24-9BB1-4B95-AD44-7B75FBA14316}"/>
                </a:ext>
              </a:extLst>
            </p:cNvPr>
            <p:cNvCxnSpPr>
              <a:cxnSpLocks/>
            </p:cNvCxnSpPr>
            <p:nvPr/>
          </p:nvCxnSpPr>
          <p:spPr>
            <a:xfrm>
              <a:off x="1279621" y="4329918"/>
              <a:ext cx="385693" cy="0"/>
            </a:xfrm>
            <a:prstGeom prst="line">
              <a:avLst/>
            </a:prstGeom>
            <a:noFill/>
            <a:ln w="19050" cap="sq" cmpd="sng" algn="ctr">
              <a:solidFill>
                <a:schemeClr val="tx2"/>
              </a:solidFill>
              <a:prstDash val="sysDash"/>
              <a:miter lim="800000"/>
              <a:tailEnd type="none"/>
            </a:ln>
            <a:effectLst/>
          </p:spPr>
        </p:cxnSp>
        <p:grpSp>
          <p:nvGrpSpPr>
            <p:cNvPr id="120" name="Group 119">
              <a:extLst>
                <a:ext uri="{FF2B5EF4-FFF2-40B4-BE49-F238E27FC236}">
                  <a16:creationId xmlns:a16="http://schemas.microsoft.com/office/drawing/2014/main" id="{898E0582-1EC9-48D6-B5F1-28D99EC037D3}"/>
                </a:ext>
              </a:extLst>
            </p:cNvPr>
            <p:cNvGrpSpPr/>
            <p:nvPr/>
          </p:nvGrpSpPr>
          <p:grpSpPr>
            <a:xfrm>
              <a:off x="1699077" y="4113918"/>
              <a:ext cx="432000" cy="432000"/>
              <a:chOff x="1699077" y="4113918"/>
              <a:chExt cx="432000" cy="432000"/>
            </a:xfrm>
          </p:grpSpPr>
          <p:sp>
            <p:nvSpPr>
              <p:cNvPr id="106" name="Freeform 40890">
                <a:extLst>
                  <a:ext uri="{FF2B5EF4-FFF2-40B4-BE49-F238E27FC236}">
                    <a16:creationId xmlns:a16="http://schemas.microsoft.com/office/drawing/2014/main" id="{9D7FA56C-F7FB-4783-9450-E8E3911F93FA}"/>
                  </a:ext>
                </a:extLst>
              </p:cNvPr>
              <p:cNvSpPr/>
              <p:nvPr/>
            </p:nvSpPr>
            <p:spPr>
              <a:xfrm>
                <a:off x="1699077" y="4113918"/>
                <a:ext cx="432000" cy="432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799" dirty="0">
                  <a:solidFill>
                    <a:prstClr val="white"/>
                  </a:solidFill>
                  <a:latin typeface="EYInterstate Light"/>
                </a:endParaRPr>
              </a:p>
            </p:txBody>
          </p:sp>
          <p:pic>
            <p:nvPicPr>
              <p:cNvPr id="114" name="Graphic 113" descr="Beaker with solid fill">
                <a:extLst>
                  <a:ext uri="{FF2B5EF4-FFF2-40B4-BE49-F238E27FC236}">
                    <a16:creationId xmlns:a16="http://schemas.microsoft.com/office/drawing/2014/main" id="{9FB05B5C-D011-42A0-A413-5B2BF94B227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753077" y="4190708"/>
                <a:ext cx="324000" cy="278421"/>
              </a:xfrm>
              <a:prstGeom prst="rect">
                <a:avLst/>
              </a:prstGeom>
            </p:spPr>
          </p:pic>
        </p:grpSp>
      </p:grpSp>
      <p:sp>
        <p:nvSpPr>
          <p:cNvPr id="126" name="Rectangle 125">
            <a:extLst>
              <a:ext uri="{FF2B5EF4-FFF2-40B4-BE49-F238E27FC236}">
                <a16:creationId xmlns:a16="http://schemas.microsoft.com/office/drawing/2014/main" id="{DDC11022-6C23-4D73-BFB2-7643DD9614D1}"/>
              </a:ext>
            </a:extLst>
          </p:cNvPr>
          <p:cNvSpPr/>
          <p:nvPr/>
        </p:nvSpPr>
        <p:spPr bwMode="auto">
          <a:xfrm>
            <a:off x="794682" y="5018581"/>
            <a:ext cx="10830123" cy="795174"/>
          </a:xfrm>
          <a:prstGeom prst="rect">
            <a:avLst/>
          </a:prstGeom>
          <a:solidFill>
            <a:srgbClr val="FFE600"/>
          </a:solidFill>
          <a:ln>
            <a:noFill/>
          </a:ln>
        </p:spPr>
        <p:txBody>
          <a:bodyPr rot="0" spcFirstLastPara="0" vertOverflow="overflow" horzOverflow="overflow" vert="horz" wrap="square" lIns="137089" tIns="395794" rIns="137089" bIns="137089" numCol="1" spcCol="0" rtlCol="0" fromWordArt="0" anchor="ctr" anchorCtr="0" forceAA="0" compatLnSpc="1">
            <a:prstTxWarp prst="textNoShape">
              <a:avLst/>
            </a:prstTxWarp>
            <a:noAutofit/>
          </a:bodyPr>
          <a:lstStyle/>
          <a:p>
            <a:pPr algn="ctr" defTabSz="913943">
              <a:spcAft>
                <a:spcPts val="600"/>
              </a:spcAft>
            </a:pPr>
            <a:r>
              <a:rPr lang="en-US" sz="1199" b="1" dirty="0">
                <a:solidFill>
                  <a:srgbClr val="2E2E38"/>
                </a:solidFill>
                <a:latin typeface="EYInterstate Light"/>
                <a:cs typeface="Arial" pitchFamily="34" charset="0"/>
              </a:rPr>
              <a:t>Operational Due Diligence </a:t>
            </a:r>
            <a:r>
              <a:rPr lang="en-US" sz="1199" dirty="0">
                <a:solidFill>
                  <a:srgbClr val="2E2E38"/>
                </a:solidFill>
                <a:latin typeface="EYInterstate Light"/>
                <a:cs typeface="Arial" pitchFamily="34" charset="0"/>
              </a:rPr>
              <a:t>requires a specific set of </a:t>
            </a:r>
            <a:r>
              <a:rPr lang="en-US" sz="1199" b="1" dirty="0">
                <a:solidFill>
                  <a:srgbClr val="2E2E38"/>
                </a:solidFill>
                <a:latin typeface="EYInterstate Light"/>
                <a:cs typeface="Arial" pitchFamily="34" charset="0"/>
              </a:rPr>
              <a:t>technical skills </a:t>
            </a:r>
            <a:r>
              <a:rPr lang="en-US" sz="1199" dirty="0">
                <a:solidFill>
                  <a:srgbClr val="2E2E38"/>
                </a:solidFill>
                <a:latin typeface="EYInterstate Light"/>
                <a:cs typeface="Arial" pitchFamily="34" charset="0"/>
              </a:rPr>
              <a:t>and expertise born from </a:t>
            </a:r>
            <a:r>
              <a:rPr lang="en-US" sz="1199" b="1" dirty="0">
                <a:solidFill>
                  <a:srgbClr val="2E2E38"/>
                </a:solidFill>
                <a:latin typeface="EYInterstate Light"/>
                <a:cs typeface="Arial" pitchFamily="34" charset="0"/>
              </a:rPr>
              <a:t>experience</a:t>
            </a:r>
            <a:r>
              <a:rPr lang="en-US" sz="1199" dirty="0">
                <a:solidFill>
                  <a:srgbClr val="2E2E38"/>
                </a:solidFill>
                <a:latin typeface="EYInterstate Light"/>
                <a:cs typeface="Arial" pitchFamily="34" charset="0"/>
              </a:rPr>
              <a:t> in working with established businesses to identify areas of fragility and opportunities for </a:t>
            </a:r>
            <a:r>
              <a:rPr lang="en-US" sz="1199" b="1" dirty="0">
                <a:solidFill>
                  <a:srgbClr val="2E2E38"/>
                </a:solidFill>
                <a:latin typeface="EYInterstate Light"/>
                <a:cs typeface="Arial" pitchFamily="34" charset="0"/>
              </a:rPr>
              <a:t>breakthrough enhancements</a:t>
            </a:r>
            <a:endParaRPr lang="en-IN" sz="1199" b="1" dirty="0">
              <a:solidFill>
                <a:srgbClr val="2E2E38"/>
              </a:solidFill>
              <a:latin typeface="EYInterstate Light"/>
              <a:cs typeface="Arial" pitchFamily="34" charset="0"/>
            </a:endParaRPr>
          </a:p>
        </p:txBody>
      </p:sp>
      <p:sp>
        <p:nvSpPr>
          <p:cNvPr id="128" name="Rectangle 127">
            <a:extLst>
              <a:ext uri="{FF2B5EF4-FFF2-40B4-BE49-F238E27FC236}">
                <a16:creationId xmlns:a16="http://schemas.microsoft.com/office/drawing/2014/main" id="{51682C3D-DC3E-4C4B-A740-F9CEE82B73B9}"/>
              </a:ext>
            </a:extLst>
          </p:cNvPr>
          <p:cNvSpPr/>
          <p:nvPr/>
        </p:nvSpPr>
        <p:spPr bwMode="auto">
          <a:xfrm>
            <a:off x="609599" y="4846479"/>
            <a:ext cx="2340989" cy="400377"/>
          </a:xfrm>
          <a:prstGeom prst="rect">
            <a:avLst/>
          </a:prstGeom>
          <a:solidFill>
            <a:schemeClr val="bg1"/>
          </a:solidFill>
          <a:ln w="19050">
            <a:solidFill>
              <a:schemeClr val="tx2"/>
            </a:solidFill>
          </a:ln>
        </p:spPr>
        <p:txBody>
          <a:bodyPr rot="0" spcFirstLastPara="0" vertOverflow="overflow" horzOverflow="overflow" vert="horz" wrap="square" lIns="137089" tIns="137089" rIns="137089" bIns="137089" numCol="1" spcCol="0" rtlCol="0" fromWordArt="0" anchor="ctr" anchorCtr="0" forceAA="0" compatLnSpc="1">
            <a:prstTxWarp prst="textNoShape">
              <a:avLst/>
            </a:prstTxWarp>
            <a:noAutofit/>
          </a:bodyPr>
          <a:lstStyle/>
          <a:p>
            <a:pPr algn="ctr" defTabSz="913943">
              <a:spcAft>
                <a:spcPts val="600"/>
              </a:spcAft>
            </a:pPr>
            <a:r>
              <a:rPr lang="en-IN" sz="1399" b="1" dirty="0">
                <a:solidFill>
                  <a:srgbClr val="000000"/>
                </a:solidFill>
                <a:latin typeface="EYInterstate Light"/>
                <a:cs typeface="Arial" pitchFamily="34" charset="0"/>
              </a:rPr>
              <a:t>Competitive advantage</a:t>
            </a:r>
          </a:p>
        </p:txBody>
      </p:sp>
    </p:spTree>
    <p:extLst>
      <p:ext uri="{BB962C8B-B14F-4D97-AF65-F5344CB8AC3E}">
        <p14:creationId xmlns:p14="http://schemas.microsoft.com/office/powerpoint/2010/main" val="39205884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600" y="294200"/>
            <a:ext cx="11201343" cy="590400"/>
          </a:xfrm>
        </p:spPr>
        <p:txBody>
          <a:bodyPr vert="horz"/>
          <a:lstStyle/>
          <a:p>
            <a:pPr>
              <a:tabLst>
                <a:tab pos="2686294" algn="l"/>
              </a:tabLst>
            </a:pPr>
            <a:r>
              <a:rPr lang="en-US" sz="1799" dirty="0"/>
              <a:t>We propose a client-tailored fee scheme, based on ODD’s breadth and deal’s siz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600" y="909062"/>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en-US" sz="1799" dirty="0">
              <a:solidFill>
                <a:prstClr val="white"/>
              </a:solidFill>
              <a:latin typeface="EYInterstate Ligh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dirty="0">
                <a:solidFill>
                  <a:prstClr val="white"/>
                </a:solidFill>
              </a:rPr>
              <a:t>Page </a:t>
            </a:r>
            <a:fld id="{F1BC30E3-FFE5-4B91-AA19-87A149EBB9EE}" type="slidenum">
              <a:rPr lang="en-US">
                <a:solidFill>
                  <a:prstClr val="white"/>
                </a:solidFill>
              </a:rPr>
              <a:pPr/>
              <a:t>2</a:t>
            </a:fld>
            <a:endParaRPr lang="en-US" dirty="0">
              <a:solidFill>
                <a:prstClr val="white"/>
              </a:solidFill>
            </a:endParaRPr>
          </a:p>
        </p:txBody>
      </p:sp>
      <p:sp>
        <p:nvSpPr>
          <p:cNvPr id="22" name="TextBox 21">
            <a:extLst>
              <a:ext uri="{FF2B5EF4-FFF2-40B4-BE49-F238E27FC236}">
                <a16:creationId xmlns:a16="http://schemas.microsoft.com/office/drawing/2014/main" id="{80CDE037-0580-4F71-A58C-FD65A88A0C6E}"/>
              </a:ext>
            </a:extLst>
          </p:cNvPr>
          <p:cNvSpPr txBox="1"/>
          <p:nvPr/>
        </p:nvSpPr>
        <p:spPr>
          <a:xfrm>
            <a:off x="609601" y="989897"/>
            <a:ext cx="3004211" cy="30761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pPr defTabSz="913620">
              <a:tabLst>
                <a:tab pos="180250" algn="l"/>
                <a:tab pos="449355" algn="l"/>
              </a:tabLst>
            </a:pPr>
            <a:r>
              <a:rPr lang="en-IN" sz="1399" dirty="0">
                <a:solidFill>
                  <a:srgbClr val="FFE600"/>
                </a:solidFill>
                <a:latin typeface="EYInterstate Light"/>
              </a:rPr>
              <a:t>Fees Structure Draft</a:t>
            </a:r>
          </a:p>
        </p:txBody>
      </p:sp>
      <p:grpSp>
        <p:nvGrpSpPr>
          <p:cNvPr id="46" name="Group 45">
            <a:extLst>
              <a:ext uri="{FF2B5EF4-FFF2-40B4-BE49-F238E27FC236}">
                <a16:creationId xmlns:a16="http://schemas.microsoft.com/office/drawing/2014/main" id="{A352D321-72D7-473D-8C67-E9140D0D5BAC}"/>
              </a:ext>
            </a:extLst>
          </p:cNvPr>
          <p:cNvGrpSpPr/>
          <p:nvPr/>
        </p:nvGrpSpPr>
        <p:grpSpPr>
          <a:xfrm>
            <a:off x="8938856" y="32552"/>
            <a:ext cx="3126090" cy="288152"/>
            <a:chOff x="1432687" y="2255388"/>
            <a:chExt cx="3127718" cy="288302"/>
          </a:xfrm>
        </p:grpSpPr>
        <p:sp>
          <p:nvSpPr>
            <p:cNvPr id="52" name="Rectangle 6">
              <a:extLst>
                <a:ext uri="{FF2B5EF4-FFF2-40B4-BE49-F238E27FC236}">
                  <a16:creationId xmlns:a16="http://schemas.microsoft.com/office/drawing/2014/main" id="{7BA6AF63-1567-45CC-80D8-3AD980145DA5}"/>
                </a:ext>
              </a:extLst>
            </p:cNvPr>
            <p:cNvSpPr/>
            <p:nvPr/>
          </p:nvSpPr>
          <p:spPr>
            <a:xfrm>
              <a:off x="1432687" y="2261041"/>
              <a:ext cx="280846" cy="276999"/>
            </a:xfrm>
            <a:prstGeom prst="rect">
              <a:avLst/>
            </a:prstGeom>
          </p:spPr>
          <p:txBody>
            <a:bodyPr wrap="none" anchor="ctr">
              <a:spAutoFit/>
            </a:bodyPr>
            <a:lstStyle/>
            <a:p>
              <a:pPr algn="ctr" defTabSz="913943"/>
              <a:r>
                <a:rPr lang="en-US" sz="1199" dirty="0">
                  <a:solidFill>
                    <a:prstClr val="white"/>
                  </a:solidFill>
                  <a:latin typeface="EYInterstate"/>
                </a:rPr>
                <a:t>1</a:t>
              </a:r>
            </a:p>
          </p:txBody>
        </p:sp>
        <p:pic>
          <p:nvPicPr>
            <p:cNvPr id="53" name="Graphic 52" descr="Target with solid fill">
              <a:extLst>
                <a:ext uri="{FF2B5EF4-FFF2-40B4-BE49-F238E27FC236}">
                  <a16:creationId xmlns:a16="http://schemas.microsoft.com/office/drawing/2014/main" id="{F664CF74-3726-471C-8807-DAF69FD5315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17840" y="2255388"/>
              <a:ext cx="254134" cy="288302"/>
            </a:xfrm>
            <a:prstGeom prst="rect">
              <a:avLst/>
            </a:prstGeom>
          </p:spPr>
        </p:pic>
        <p:sp>
          <p:nvSpPr>
            <p:cNvPr id="54" name="Rectangle 11">
              <a:extLst>
                <a:ext uri="{FF2B5EF4-FFF2-40B4-BE49-F238E27FC236}">
                  <a16:creationId xmlns:a16="http://schemas.microsoft.com/office/drawing/2014/main" id="{03BBE45E-C9AD-4B9C-AACD-359BA47C3A96}"/>
                </a:ext>
              </a:extLst>
            </p:cNvPr>
            <p:cNvSpPr/>
            <p:nvPr/>
          </p:nvSpPr>
          <p:spPr>
            <a:xfrm>
              <a:off x="1959703" y="2266265"/>
              <a:ext cx="280846" cy="276999"/>
            </a:xfrm>
            <a:prstGeom prst="rect">
              <a:avLst/>
            </a:prstGeom>
          </p:spPr>
          <p:txBody>
            <a:bodyPr wrap="none">
              <a:spAutoFit/>
            </a:bodyPr>
            <a:lstStyle/>
            <a:p>
              <a:pPr algn="ctr" defTabSz="913943"/>
              <a:r>
                <a:rPr lang="en-US" sz="1199" dirty="0">
                  <a:solidFill>
                    <a:srgbClr val="FFE600"/>
                  </a:solidFill>
                  <a:latin typeface="EYInterstate"/>
                </a:rPr>
                <a:t>2</a:t>
              </a:r>
            </a:p>
          </p:txBody>
        </p:sp>
        <p:pic>
          <p:nvPicPr>
            <p:cNvPr id="55" name="Graphic 54" descr="Lights On with solid fill">
              <a:extLst>
                <a:ext uri="{FF2B5EF4-FFF2-40B4-BE49-F238E27FC236}">
                  <a16:creationId xmlns:a16="http://schemas.microsoft.com/office/drawing/2014/main" id="{0C40CB7C-7887-4145-BDC6-6D0D50FB618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0451" y="2255388"/>
              <a:ext cx="254133" cy="288302"/>
            </a:xfrm>
            <a:prstGeom prst="rect">
              <a:avLst/>
            </a:prstGeom>
          </p:spPr>
        </p:pic>
        <p:sp>
          <p:nvSpPr>
            <p:cNvPr id="56" name="Rectangle 12">
              <a:extLst>
                <a:ext uri="{FF2B5EF4-FFF2-40B4-BE49-F238E27FC236}">
                  <a16:creationId xmlns:a16="http://schemas.microsoft.com/office/drawing/2014/main" id="{2C0A817F-DADB-42BB-A99B-F730278BE885}"/>
                </a:ext>
              </a:extLst>
            </p:cNvPr>
            <p:cNvSpPr/>
            <p:nvPr/>
          </p:nvSpPr>
          <p:spPr>
            <a:xfrm>
              <a:off x="2512312" y="2266265"/>
              <a:ext cx="280846" cy="276999"/>
            </a:xfrm>
            <a:prstGeom prst="rect">
              <a:avLst/>
            </a:prstGeom>
          </p:spPr>
          <p:txBody>
            <a:bodyPr wrap="none">
              <a:spAutoFit/>
            </a:bodyPr>
            <a:lstStyle/>
            <a:p>
              <a:pPr algn="ctr" defTabSz="913943"/>
              <a:r>
                <a:rPr lang="en-US" sz="1199" dirty="0">
                  <a:solidFill>
                    <a:prstClr val="white"/>
                  </a:solidFill>
                  <a:latin typeface="EYInterstate"/>
                </a:rPr>
                <a:t>3</a:t>
              </a:r>
            </a:p>
          </p:txBody>
        </p:sp>
        <p:pic>
          <p:nvPicPr>
            <p:cNvPr id="57" name="Graphic 56" descr="Clipboard Checked with solid fill">
              <a:extLst>
                <a:ext uri="{FF2B5EF4-FFF2-40B4-BE49-F238E27FC236}">
                  <a16:creationId xmlns:a16="http://schemas.microsoft.com/office/drawing/2014/main" id="{4EE6722A-4C28-461A-9631-80AA5A93675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98548" y="2255388"/>
              <a:ext cx="254134" cy="288302"/>
            </a:xfrm>
            <a:prstGeom prst="rect">
              <a:avLst/>
            </a:prstGeom>
          </p:spPr>
        </p:pic>
        <p:sp>
          <p:nvSpPr>
            <p:cNvPr id="58" name="Rectangle 6">
              <a:extLst>
                <a:ext uri="{FF2B5EF4-FFF2-40B4-BE49-F238E27FC236}">
                  <a16:creationId xmlns:a16="http://schemas.microsoft.com/office/drawing/2014/main" id="{AF0E0A0C-C8D8-4CE8-B8FF-C300D605698F}"/>
                </a:ext>
              </a:extLst>
            </p:cNvPr>
            <p:cNvSpPr/>
            <p:nvPr/>
          </p:nvSpPr>
          <p:spPr>
            <a:xfrm>
              <a:off x="3040410" y="2266265"/>
              <a:ext cx="280846" cy="276999"/>
            </a:xfrm>
            <a:prstGeom prst="rect">
              <a:avLst/>
            </a:prstGeom>
          </p:spPr>
          <p:txBody>
            <a:bodyPr wrap="none">
              <a:spAutoFit/>
            </a:bodyPr>
            <a:lstStyle/>
            <a:p>
              <a:pPr algn="ctr" defTabSz="913943"/>
              <a:r>
                <a:rPr lang="en-US" sz="1199" dirty="0">
                  <a:solidFill>
                    <a:prstClr val="white"/>
                  </a:solidFill>
                  <a:latin typeface="EYInterstate"/>
                </a:rPr>
                <a:t>4</a:t>
              </a:r>
            </a:p>
          </p:txBody>
        </p:sp>
        <p:pic>
          <p:nvPicPr>
            <p:cNvPr id="59" name="Graphic 58" descr="Daily calendar with solid fill">
              <a:extLst>
                <a:ext uri="{FF2B5EF4-FFF2-40B4-BE49-F238E27FC236}">
                  <a16:creationId xmlns:a16="http://schemas.microsoft.com/office/drawing/2014/main" id="{7F8909F9-DC33-4D55-9876-F36687E95FC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25563" y="2255388"/>
              <a:ext cx="254134" cy="288302"/>
            </a:xfrm>
            <a:prstGeom prst="rect">
              <a:avLst/>
            </a:prstGeom>
          </p:spPr>
        </p:pic>
        <p:sp>
          <p:nvSpPr>
            <p:cNvPr id="60" name="Rectangle 11">
              <a:extLst>
                <a:ext uri="{FF2B5EF4-FFF2-40B4-BE49-F238E27FC236}">
                  <a16:creationId xmlns:a16="http://schemas.microsoft.com/office/drawing/2014/main" id="{F27CE885-D5D8-429A-BD39-DFEA889A36B4}"/>
                </a:ext>
              </a:extLst>
            </p:cNvPr>
            <p:cNvSpPr/>
            <p:nvPr/>
          </p:nvSpPr>
          <p:spPr>
            <a:xfrm>
              <a:off x="3567426" y="2266265"/>
              <a:ext cx="280846" cy="276999"/>
            </a:xfrm>
            <a:prstGeom prst="rect">
              <a:avLst/>
            </a:prstGeom>
          </p:spPr>
          <p:txBody>
            <a:bodyPr wrap="none">
              <a:spAutoFit/>
            </a:bodyPr>
            <a:lstStyle/>
            <a:p>
              <a:pPr algn="ctr" defTabSz="913943"/>
              <a:r>
                <a:rPr lang="en-US" sz="1199" dirty="0">
                  <a:solidFill>
                    <a:prstClr val="white"/>
                  </a:solidFill>
                  <a:latin typeface="EYInterstate"/>
                </a:rPr>
                <a:t>5</a:t>
              </a:r>
            </a:p>
          </p:txBody>
        </p:sp>
        <p:pic>
          <p:nvPicPr>
            <p:cNvPr id="61" name="Graphic 60" descr="Target Audience with solid fill">
              <a:extLst>
                <a:ext uri="{FF2B5EF4-FFF2-40B4-BE49-F238E27FC236}">
                  <a16:creationId xmlns:a16="http://schemas.microsoft.com/office/drawing/2014/main" id="{333ECB1B-CD32-47F1-8C43-C238A5C16C5C}"/>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78174" y="2255388"/>
              <a:ext cx="254133" cy="288302"/>
            </a:xfrm>
            <a:prstGeom prst="rect">
              <a:avLst/>
            </a:prstGeom>
          </p:spPr>
        </p:pic>
        <p:sp>
          <p:nvSpPr>
            <p:cNvPr id="62" name="Rectangle 12">
              <a:extLst>
                <a:ext uri="{FF2B5EF4-FFF2-40B4-BE49-F238E27FC236}">
                  <a16:creationId xmlns:a16="http://schemas.microsoft.com/office/drawing/2014/main" id="{13EF6385-CFF0-415C-A9ED-80BE23AEE2A9}"/>
                </a:ext>
              </a:extLst>
            </p:cNvPr>
            <p:cNvSpPr/>
            <p:nvPr/>
          </p:nvSpPr>
          <p:spPr>
            <a:xfrm>
              <a:off x="4120035" y="2266265"/>
              <a:ext cx="280846" cy="276999"/>
            </a:xfrm>
            <a:prstGeom prst="rect">
              <a:avLst/>
            </a:prstGeom>
          </p:spPr>
          <p:txBody>
            <a:bodyPr wrap="none">
              <a:spAutoFit/>
            </a:bodyPr>
            <a:lstStyle/>
            <a:p>
              <a:pPr algn="ctr" defTabSz="913943"/>
              <a:r>
                <a:rPr lang="en-US" sz="1199" dirty="0">
                  <a:solidFill>
                    <a:prstClr val="white"/>
                  </a:solidFill>
                  <a:latin typeface="EYInterstate"/>
                </a:rPr>
                <a:t>6</a:t>
              </a:r>
            </a:p>
          </p:txBody>
        </p:sp>
        <p:pic>
          <p:nvPicPr>
            <p:cNvPr id="63" name="Graphic 62" descr="Cycle with people with solid fill">
              <a:extLst>
                <a:ext uri="{FF2B5EF4-FFF2-40B4-BE49-F238E27FC236}">
                  <a16:creationId xmlns:a16="http://schemas.microsoft.com/office/drawing/2014/main" id="{30ACF9E8-F1DC-4990-8C62-94696704270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06271" y="2255388"/>
              <a:ext cx="254134" cy="288302"/>
            </a:xfrm>
            <a:prstGeom prst="rect">
              <a:avLst/>
            </a:prstGeom>
          </p:spPr>
        </p:pic>
      </p:grpSp>
      <p:grpSp>
        <p:nvGrpSpPr>
          <p:cNvPr id="64" name="Group 63">
            <a:extLst>
              <a:ext uri="{FF2B5EF4-FFF2-40B4-BE49-F238E27FC236}">
                <a16:creationId xmlns:a16="http://schemas.microsoft.com/office/drawing/2014/main" id="{C2BA7F30-9891-4070-B52B-D6F4CF38C5F2}"/>
              </a:ext>
            </a:extLst>
          </p:cNvPr>
          <p:cNvGrpSpPr/>
          <p:nvPr/>
        </p:nvGrpSpPr>
        <p:grpSpPr>
          <a:xfrm>
            <a:off x="8938856" y="32552"/>
            <a:ext cx="3126090" cy="288152"/>
            <a:chOff x="1585087" y="2773548"/>
            <a:chExt cx="3127718" cy="288302"/>
          </a:xfrm>
        </p:grpSpPr>
        <p:sp>
          <p:nvSpPr>
            <p:cNvPr id="65" name="Rectangle 6">
              <a:extLst>
                <a:ext uri="{FF2B5EF4-FFF2-40B4-BE49-F238E27FC236}">
                  <a16:creationId xmlns:a16="http://schemas.microsoft.com/office/drawing/2014/main" id="{790F5D72-0B56-48FC-A3DE-3DB77A5F3919}"/>
                </a:ext>
              </a:extLst>
            </p:cNvPr>
            <p:cNvSpPr/>
            <p:nvPr/>
          </p:nvSpPr>
          <p:spPr>
            <a:xfrm>
              <a:off x="1585087" y="2779201"/>
              <a:ext cx="280846" cy="276999"/>
            </a:xfrm>
            <a:prstGeom prst="rect">
              <a:avLst/>
            </a:prstGeom>
          </p:spPr>
          <p:txBody>
            <a:bodyPr wrap="none" anchor="ctr">
              <a:spAutoFit/>
            </a:bodyPr>
            <a:lstStyle/>
            <a:p>
              <a:pPr algn="ctr" defTabSz="913943"/>
              <a:r>
                <a:rPr lang="en-US" sz="1199" dirty="0">
                  <a:solidFill>
                    <a:prstClr val="white"/>
                  </a:solidFill>
                  <a:latin typeface="EYInterstate"/>
                </a:rPr>
                <a:t>1</a:t>
              </a:r>
            </a:p>
          </p:txBody>
        </p:sp>
        <p:pic>
          <p:nvPicPr>
            <p:cNvPr id="66" name="Graphic 65" descr="Target with solid fill">
              <a:extLst>
                <a:ext uri="{FF2B5EF4-FFF2-40B4-BE49-F238E27FC236}">
                  <a16:creationId xmlns:a16="http://schemas.microsoft.com/office/drawing/2014/main" id="{2C496392-0E88-465E-B839-561203FE2B6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70240" y="2773548"/>
              <a:ext cx="254134" cy="288302"/>
            </a:xfrm>
            <a:prstGeom prst="rect">
              <a:avLst/>
            </a:prstGeom>
          </p:spPr>
        </p:pic>
        <p:sp>
          <p:nvSpPr>
            <p:cNvPr id="67" name="Rectangle 11">
              <a:extLst>
                <a:ext uri="{FF2B5EF4-FFF2-40B4-BE49-F238E27FC236}">
                  <a16:creationId xmlns:a16="http://schemas.microsoft.com/office/drawing/2014/main" id="{2143D6DE-9AF8-4AEB-B646-DC3D70298C45}"/>
                </a:ext>
              </a:extLst>
            </p:cNvPr>
            <p:cNvSpPr/>
            <p:nvPr/>
          </p:nvSpPr>
          <p:spPr>
            <a:xfrm>
              <a:off x="2112103" y="2784425"/>
              <a:ext cx="280846" cy="276999"/>
            </a:xfrm>
            <a:prstGeom prst="rect">
              <a:avLst/>
            </a:prstGeom>
          </p:spPr>
          <p:txBody>
            <a:bodyPr wrap="none">
              <a:spAutoFit/>
            </a:bodyPr>
            <a:lstStyle/>
            <a:p>
              <a:pPr algn="ctr" defTabSz="913943"/>
              <a:r>
                <a:rPr lang="en-US" sz="1199" dirty="0">
                  <a:solidFill>
                    <a:prstClr val="white"/>
                  </a:solidFill>
                  <a:latin typeface="EYInterstate"/>
                </a:rPr>
                <a:t>2</a:t>
              </a:r>
            </a:p>
          </p:txBody>
        </p:sp>
        <p:pic>
          <p:nvPicPr>
            <p:cNvPr id="68" name="Graphic 67" descr="Lights On with solid fill">
              <a:extLst>
                <a:ext uri="{FF2B5EF4-FFF2-40B4-BE49-F238E27FC236}">
                  <a16:creationId xmlns:a16="http://schemas.microsoft.com/office/drawing/2014/main" id="{4DC4ADA3-EE26-42CD-93CB-9069A262126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322851" y="2773548"/>
              <a:ext cx="254133" cy="288302"/>
            </a:xfrm>
            <a:prstGeom prst="rect">
              <a:avLst/>
            </a:prstGeom>
          </p:spPr>
        </p:pic>
        <p:sp>
          <p:nvSpPr>
            <p:cNvPr id="69" name="Rectangle 12">
              <a:extLst>
                <a:ext uri="{FF2B5EF4-FFF2-40B4-BE49-F238E27FC236}">
                  <a16:creationId xmlns:a16="http://schemas.microsoft.com/office/drawing/2014/main" id="{A89E4283-139A-4E05-B4DD-8BC9DA76A74C}"/>
                </a:ext>
              </a:extLst>
            </p:cNvPr>
            <p:cNvSpPr/>
            <p:nvPr/>
          </p:nvSpPr>
          <p:spPr>
            <a:xfrm>
              <a:off x="2664712" y="2784425"/>
              <a:ext cx="280846" cy="276999"/>
            </a:xfrm>
            <a:prstGeom prst="rect">
              <a:avLst/>
            </a:prstGeom>
          </p:spPr>
          <p:txBody>
            <a:bodyPr wrap="none">
              <a:spAutoFit/>
            </a:bodyPr>
            <a:lstStyle/>
            <a:p>
              <a:pPr algn="ctr" defTabSz="913943"/>
              <a:r>
                <a:rPr lang="en-US" sz="1199" dirty="0">
                  <a:solidFill>
                    <a:srgbClr val="FFE600"/>
                  </a:solidFill>
                  <a:latin typeface="EYInterstate"/>
                </a:rPr>
                <a:t>3</a:t>
              </a:r>
            </a:p>
          </p:txBody>
        </p:sp>
        <p:pic>
          <p:nvPicPr>
            <p:cNvPr id="70" name="Graphic 69" descr="Clipboard Checked with solid fill">
              <a:extLst>
                <a:ext uri="{FF2B5EF4-FFF2-40B4-BE49-F238E27FC236}">
                  <a16:creationId xmlns:a16="http://schemas.microsoft.com/office/drawing/2014/main" id="{042830EE-E4F3-4267-8A0B-B19304FA709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50948" y="2773548"/>
              <a:ext cx="254134" cy="288302"/>
            </a:xfrm>
            <a:prstGeom prst="rect">
              <a:avLst/>
            </a:prstGeom>
          </p:spPr>
        </p:pic>
        <p:sp>
          <p:nvSpPr>
            <p:cNvPr id="71" name="Rectangle 6">
              <a:extLst>
                <a:ext uri="{FF2B5EF4-FFF2-40B4-BE49-F238E27FC236}">
                  <a16:creationId xmlns:a16="http://schemas.microsoft.com/office/drawing/2014/main" id="{81E6164D-46D3-48D9-87A7-3AF7DB13F268}"/>
                </a:ext>
              </a:extLst>
            </p:cNvPr>
            <p:cNvSpPr/>
            <p:nvPr/>
          </p:nvSpPr>
          <p:spPr>
            <a:xfrm>
              <a:off x="3192810" y="2784425"/>
              <a:ext cx="280846" cy="276999"/>
            </a:xfrm>
            <a:prstGeom prst="rect">
              <a:avLst/>
            </a:prstGeom>
          </p:spPr>
          <p:txBody>
            <a:bodyPr wrap="none">
              <a:spAutoFit/>
            </a:bodyPr>
            <a:lstStyle/>
            <a:p>
              <a:pPr algn="ctr" defTabSz="913943"/>
              <a:r>
                <a:rPr lang="en-US" sz="1199" dirty="0">
                  <a:solidFill>
                    <a:prstClr val="white"/>
                  </a:solidFill>
                  <a:latin typeface="EYInterstate"/>
                </a:rPr>
                <a:t>4</a:t>
              </a:r>
            </a:p>
          </p:txBody>
        </p:sp>
        <p:pic>
          <p:nvPicPr>
            <p:cNvPr id="72" name="Graphic 71" descr="Daily calendar with solid fill">
              <a:extLst>
                <a:ext uri="{FF2B5EF4-FFF2-40B4-BE49-F238E27FC236}">
                  <a16:creationId xmlns:a16="http://schemas.microsoft.com/office/drawing/2014/main" id="{DD1BF1F4-A3A2-44DA-94E5-B9BA637E60D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77963" y="2773548"/>
              <a:ext cx="254134" cy="288302"/>
            </a:xfrm>
            <a:prstGeom prst="rect">
              <a:avLst/>
            </a:prstGeom>
          </p:spPr>
        </p:pic>
        <p:sp>
          <p:nvSpPr>
            <p:cNvPr id="73" name="Rectangle 11">
              <a:extLst>
                <a:ext uri="{FF2B5EF4-FFF2-40B4-BE49-F238E27FC236}">
                  <a16:creationId xmlns:a16="http://schemas.microsoft.com/office/drawing/2014/main" id="{51CD8385-50FA-4FE1-9F40-727E07F51973}"/>
                </a:ext>
              </a:extLst>
            </p:cNvPr>
            <p:cNvSpPr/>
            <p:nvPr/>
          </p:nvSpPr>
          <p:spPr>
            <a:xfrm>
              <a:off x="3719826" y="2784425"/>
              <a:ext cx="280846" cy="276999"/>
            </a:xfrm>
            <a:prstGeom prst="rect">
              <a:avLst/>
            </a:prstGeom>
          </p:spPr>
          <p:txBody>
            <a:bodyPr wrap="none">
              <a:spAutoFit/>
            </a:bodyPr>
            <a:lstStyle/>
            <a:p>
              <a:pPr algn="ctr" defTabSz="913943"/>
              <a:r>
                <a:rPr lang="en-US" sz="1199" dirty="0">
                  <a:solidFill>
                    <a:prstClr val="white"/>
                  </a:solidFill>
                  <a:latin typeface="EYInterstate"/>
                </a:rPr>
                <a:t>5</a:t>
              </a:r>
            </a:p>
          </p:txBody>
        </p:sp>
        <p:pic>
          <p:nvPicPr>
            <p:cNvPr id="74" name="Graphic 73" descr="Target Audience with solid fill">
              <a:extLst>
                <a:ext uri="{FF2B5EF4-FFF2-40B4-BE49-F238E27FC236}">
                  <a16:creationId xmlns:a16="http://schemas.microsoft.com/office/drawing/2014/main" id="{46DA596B-6F3C-4626-8A85-06E75294A2C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30574" y="2773548"/>
              <a:ext cx="254133" cy="288302"/>
            </a:xfrm>
            <a:prstGeom prst="rect">
              <a:avLst/>
            </a:prstGeom>
          </p:spPr>
        </p:pic>
        <p:sp>
          <p:nvSpPr>
            <p:cNvPr id="75" name="Rectangle 12">
              <a:extLst>
                <a:ext uri="{FF2B5EF4-FFF2-40B4-BE49-F238E27FC236}">
                  <a16:creationId xmlns:a16="http://schemas.microsoft.com/office/drawing/2014/main" id="{6613FE72-2B92-4295-AD0E-BE7AFDAB9470}"/>
                </a:ext>
              </a:extLst>
            </p:cNvPr>
            <p:cNvSpPr/>
            <p:nvPr/>
          </p:nvSpPr>
          <p:spPr>
            <a:xfrm>
              <a:off x="4272435" y="2784425"/>
              <a:ext cx="280846" cy="276999"/>
            </a:xfrm>
            <a:prstGeom prst="rect">
              <a:avLst/>
            </a:prstGeom>
          </p:spPr>
          <p:txBody>
            <a:bodyPr wrap="none">
              <a:spAutoFit/>
            </a:bodyPr>
            <a:lstStyle/>
            <a:p>
              <a:pPr algn="ctr" defTabSz="913943"/>
              <a:r>
                <a:rPr lang="en-US" sz="1199" dirty="0">
                  <a:solidFill>
                    <a:prstClr val="white"/>
                  </a:solidFill>
                  <a:latin typeface="EYInterstate"/>
                </a:rPr>
                <a:t>6</a:t>
              </a:r>
            </a:p>
          </p:txBody>
        </p:sp>
        <p:pic>
          <p:nvPicPr>
            <p:cNvPr id="76" name="Graphic 75" descr="Cycle with people with solid fill">
              <a:extLst>
                <a:ext uri="{FF2B5EF4-FFF2-40B4-BE49-F238E27FC236}">
                  <a16:creationId xmlns:a16="http://schemas.microsoft.com/office/drawing/2014/main" id="{91BED56D-BFF3-4D2A-B31C-7D0AA6F7E30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458671" y="2773548"/>
              <a:ext cx="254134" cy="288302"/>
            </a:xfrm>
            <a:prstGeom prst="rect">
              <a:avLst/>
            </a:prstGeom>
          </p:spPr>
        </p:pic>
      </p:grpSp>
      <p:sp>
        <p:nvSpPr>
          <p:cNvPr id="78" name="Date Placeholder 3">
            <a:extLst>
              <a:ext uri="{FF2B5EF4-FFF2-40B4-BE49-F238E27FC236}">
                <a16:creationId xmlns:a16="http://schemas.microsoft.com/office/drawing/2014/main" id="{CA606E8C-AAA5-4BCE-BA5B-2BEE3532C543}"/>
              </a:ext>
            </a:extLst>
          </p:cNvPr>
          <p:cNvSpPr txBox="1">
            <a:spLocks/>
          </p:cNvSpPr>
          <p:nvPr/>
        </p:nvSpPr>
        <p:spPr>
          <a:xfrm>
            <a:off x="4247449" y="6577892"/>
            <a:ext cx="3697102" cy="179906"/>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43"/>
            <a:r>
              <a:rPr lang="en-US" sz="999" dirty="0">
                <a:solidFill>
                  <a:prstClr val="white"/>
                </a:solidFill>
              </a:rPr>
              <a:t>Reliance restricted and confidential – Only for Internal Use</a:t>
            </a:r>
          </a:p>
        </p:txBody>
      </p:sp>
      <p:grpSp>
        <p:nvGrpSpPr>
          <p:cNvPr id="6" name="Group 5">
            <a:extLst>
              <a:ext uri="{FF2B5EF4-FFF2-40B4-BE49-F238E27FC236}">
                <a16:creationId xmlns:a16="http://schemas.microsoft.com/office/drawing/2014/main" id="{8BB8DA37-2E38-40E9-A750-7C1E12FE5D63}"/>
              </a:ext>
            </a:extLst>
          </p:cNvPr>
          <p:cNvGrpSpPr/>
          <p:nvPr/>
        </p:nvGrpSpPr>
        <p:grpSpPr>
          <a:xfrm>
            <a:off x="402397" y="3834597"/>
            <a:ext cx="11387206" cy="2428933"/>
            <a:chOff x="402397" y="4203709"/>
            <a:chExt cx="11387206" cy="2093396"/>
          </a:xfrm>
        </p:grpSpPr>
        <p:sp>
          <p:nvSpPr>
            <p:cNvPr id="50" name="Rectangle 49">
              <a:extLst>
                <a:ext uri="{FF2B5EF4-FFF2-40B4-BE49-F238E27FC236}">
                  <a16:creationId xmlns:a16="http://schemas.microsoft.com/office/drawing/2014/main" id="{B1512086-8C28-485A-BDCA-7366D3492802}"/>
                </a:ext>
              </a:extLst>
            </p:cNvPr>
            <p:cNvSpPr/>
            <p:nvPr/>
          </p:nvSpPr>
          <p:spPr>
            <a:xfrm>
              <a:off x="402397" y="4650778"/>
              <a:ext cx="3630548" cy="1646327"/>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chemeClr val="tx2"/>
                </a:buClr>
                <a:buSzPct val="103000"/>
              </a:pPr>
              <a:r>
                <a:rPr lang="en-US" sz="1000" dirty="0">
                  <a:solidFill>
                    <a:schemeClr val="bg1"/>
                  </a:solidFill>
                  <a:cs typeface="Arial" pitchFamily="34" charset="0"/>
                </a:rPr>
                <a:t>Our proposed fees have been calculated based on the following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Our work will be performed in approx</a:t>
              </a:r>
              <a:r>
                <a:rPr lang="en-US" sz="1000" dirty="0">
                  <a:solidFill>
                    <a:srgbClr val="FF0000"/>
                  </a:solidFill>
                  <a:cs typeface="Arial" pitchFamily="34" charset="0"/>
                </a:rPr>
                <a:t>. X to Y </a:t>
              </a:r>
              <a:r>
                <a:rPr lang="en-US" sz="1000" dirty="0">
                  <a:solidFill>
                    <a:schemeClr val="bg1"/>
                  </a:solidFill>
                  <a:cs typeface="Arial" pitchFamily="34" charset="0"/>
                </a:rPr>
                <a:t>week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dministration fees (i.e. 8% of total fees) will be applied;</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Our proposal is subject to our independence and conflict check procedur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Our indicative fee proposal does not include out of pocket expenses and VAT, plus 4% of social security contribution on tax DD services.</a:t>
              </a:r>
            </a:p>
          </p:txBody>
        </p:sp>
        <p:sp>
          <p:nvSpPr>
            <p:cNvPr id="80" name="Rectangle 79">
              <a:extLst>
                <a:ext uri="{FF2B5EF4-FFF2-40B4-BE49-F238E27FC236}">
                  <a16:creationId xmlns:a16="http://schemas.microsoft.com/office/drawing/2014/main" id="{D2EBD058-AE68-4525-A5EC-CC532DF58693}"/>
                </a:ext>
              </a:extLst>
            </p:cNvPr>
            <p:cNvSpPr/>
            <p:nvPr/>
          </p:nvSpPr>
          <p:spPr>
            <a:xfrm>
              <a:off x="4280726" y="4650778"/>
              <a:ext cx="3630548" cy="1646327"/>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chemeClr val="tx2"/>
                </a:buClr>
                <a:buSzPct val="103000"/>
              </a:pPr>
              <a:r>
                <a:rPr lang="en-US" sz="1000" dirty="0">
                  <a:solidFill>
                    <a:schemeClr val="bg1"/>
                  </a:solidFill>
                  <a:cs typeface="Arial" pitchFamily="34" charset="0"/>
                </a:rPr>
                <a:t>We assume tha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We will have full access to Management and we will be provided timely with access to responses to our questions, as well as to the information needed to perform our activiti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The site is kept in a good administrative order. Reasonable quality of data and no significant delays in receiving informa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The fees quote considers the work performed on a virtual data room basis plus an access to the Companies for the management interview.</a:t>
              </a:r>
            </a:p>
            <a:p>
              <a:pPr marL="0" marR="0" indent="0" algn="ctr" defTabSz="914400" eaLnBrk="1" fontAlgn="auto" latinLnBrk="0" hangingPunct="1">
                <a:lnSpc>
                  <a:spcPct val="100000"/>
                </a:lnSpc>
                <a:spcBef>
                  <a:spcPts val="0"/>
                </a:spcBef>
                <a:spcAft>
                  <a:spcPts val="0"/>
                </a:spcAft>
                <a:buClrTx/>
                <a:buSzTx/>
                <a:buFontTx/>
                <a:buNone/>
                <a:tabLst/>
              </a:pPr>
              <a:endParaRPr kumimoji="0" lang="en-IN" sz="1000" b="0" i="0" u="none" strike="noStrike" kern="0" cap="none" spc="0" normalizeH="0" baseline="0" noProof="0" dirty="0">
                <a:ln>
                  <a:noFill/>
                </a:ln>
                <a:solidFill>
                  <a:schemeClr val="bg1"/>
                </a:solidFill>
                <a:effectLst/>
                <a:uLnTx/>
                <a:uFillTx/>
              </a:endParaRPr>
            </a:p>
          </p:txBody>
        </p:sp>
        <p:sp>
          <p:nvSpPr>
            <p:cNvPr id="84" name="Rectangle 83">
              <a:extLst>
                <a:ext uri="{FF2B5EF4-FFF2-40B4-BE49-F238E27FC236}">
                  <a16:creationId xmlns:a16="http://schemas.microsoft.com/office/drawing/2014/main" id="{35BF442F-3492-4CC6-BBAC-A15222EF042E}"/>
                </a:ext>
              </a:extLst>
            </p:cNvPr>
            <p:cNvSpPr/>
            <p:nvPr/>
          </p:nvSpPr>
          <p:spPr>
            <a:xfrm>
              <a:off x="8159055" y="4650778"/>
              <a:ext cx="3630548" cy="1646327"/>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Our fee estimate is based, inter alia, on the activities as set out on the preliminary scope of work. We will provide you with periodic status updates and/or inform you on the time and costs incurred as we go;</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To the extent that, either as a consequence of significant process delays / inefficiencies or a more detailed scope of work being required or necessary, the amount of assistance we are required to provide is in excess of the proposed timing schedule, we would look to agree additional fees with you.</a:t>
              </a:r>
            </a:p>
            <a:p>
              <a:pPr marL="0" marR="0" indent="0" algn="ctr" defTabSz="914400" eaLnBrk="1" fontAlgn="auto" latinLnBrk="0" hangingPunct="1">
                <a:lnSpc>
                  <a:spcPct val="100000"/>
                </a:lnSpc>
                <a:spcBef>
                  <a:spcPts val="0"/>
                </a:spcBef>
                <a:spcAft>
                  <a:spcPts val="0"/>
                </a:spcAft>
                <a:buClrTx/>
                <a:buSzTx/>
                <a:buFontTx/>
                <a:buNone/>
                <a:tabLst/>
              </a:pPr>
              <a:endParaRPr kumimoji="0" lang="en-IN" sz="1000" b="0" i="0" u="none" strike="noStrike" kern="0" cap="none" spc="0" normalizeH="0" baseline="0" noProof="0" dirty="0">
                <a:ln>
                  <a:noFill/>
                </a:ln>
                <a:solidFill>
                  <a:srgbClr val="2E2E38"/>
                </a:solidFill>
                <a:effectLst/>
                <a:uLnTx/>
                <a:uFillTx/>
              </a:endParaRPr>
            </a:p>
          </p:txBody>
        </p:sp>
        <p:sp>
          <p:nvSpPr>
            <p:cNvPr id="87" name="TextBox 86">
              <a:extLst>
                <a:ext uri="{FF2B5EF4-FFF2-40B4-BE49-F238E27FC236}">
                  <a16:creationId xmlns:a16="http://schemas.microsoft.com/office/drawing/2014/main" id="{28476EF7-7571-48F7-AF34-DDBBE23E0CEC}"/>
                </a:ext>
              </a:extLst>
            </p:cNvPr>
            <p:cNvSpPr txBox="1"/>
            <p:nvPr/>
          </p:nvSpPr>
          <p:spPr>
            <a:xfrm rot="5400000">
              <a:off x="3215116" y="1390990"/>
              <a:ext cx="360000" cy="5985438"/>
            </a:xfrm>
            <a:prstGeom prst="rect">
              <a:avLst/>
            </a:prstGeom>
            <a:noFill/>
            <a:ln w="12700" cap="sq">
              <a:noFill/>
              <a:miter lim="800000"/>
            </a:ln>
          </p:spPr>
          <p:txBody>
            <a:bodyPr vert="vert270"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dirty="0">
                  <a:solidFill>
                    <a:schemeClr val="bg1"/>
                  </a:solidFill>
                  <a:latin typeface="+mj-lt"/>
                  <a:cs typeface="Times New Roman"/>
                </a:rPr>
                <a:t>ASSUMPTIONS UNDERPINNING OUR FEES ESTIMATION</a:t>
              </a:r>
              <a:endParaRPr lang="en-IN" sz="1400" b="1" kern="1200" noProof="0" dirty="0">
                <a:solidFill>
                  <a:schemeClr val="bg1"/>
                </a:solidFill>
                <a:latin typeface="+mj-lt"/>
                <a:ea typeface="+mn-ea"/>
                <a:cs typeface="Times New Roman"/>
              </a:endParaRPr>
            </a:p>
          </p:txBody>
        </p:sp>
      </p:grpSp>
      <p:graphicFrame>
        <p:nvGraphicFramePr>
          <p:cNvPr id="41" name="Table 13">
            <a:extLst>
              <a:ext uri="{FF2B5EF4-FFF2-40B4-BE49-F238E27FC236}">
                <a16:creationId xmlns:a16="http://schemas.microsoft.com/office/drawing/2014/main" id="{FA6A151E-3514-4DC2-AC87-A8EB77E4D9DE}"/>
              </a:ext>
            </a:extLst>
          </p:cNvPr>
          <p:cNvGraphicFramePr>
            <a:graphicFrameLocks noGrp="1"/>
          </p:cNvGraphicFramePr>
          <p:nvPr>
            <p:extLst>
              <p:ext uri="{D42A27DB-BD31-4B8C-83A1-F6EECF244321}">
                <p14:modId xmlns:p14="http://schemas.microsoft.com/office/powerpoint/2010/main" val="572950739"/>
              </p:ext>
            </p:extLst>
          </p:nvPr>
        </p:nvGraphicFramePr>
        <p:xfrm>
          <a:off x="402398" y="1293053"/>
          <a:ext cx="11387206" cy="2484000"/>
        </p:xfrm>
        <a:graphic>
          <a:graphicData uri="http://schemas.openxmlformats.org/drawingml/2006/table">
            <a:tbl>
              <a:tblPr>
                <a:tableStyleId>{5C22544A-7EE6-4342-B048-85BDC9FD1C3A}</a:tableStyleId>
              </a:tblPr>
              <a:tblGrid>
                <a:gridCol w="1459101">
                  <a:extLst>
                    <a:ext uri="{9D8B030D-6E8A-4147-A177-3AD203B41FA5}">
                      <a16:colId xmlns:a16="http://schemas.microsoft.com/office/drawing/2014/main" val="1181455098"/>
                    </a:ext>
                  </a:extLst>
                </a:gridCol>
                <a:gridCol w="2021047">
                  <a:extLst>
                    <a:ext uri="{9D8B030D-6E8A-4147-A177-3AD203B41FA5}">
                      <a16:colId xmlns:a16="http://schemas.microsoft.com/office/drawing/2014/main" val="4181573950"/>
                    </a:ext>
                  </a:extLst>
                </a:gridCol>
                <a:gridCol w="3953529">
                  <a:extLst>
                    <a:ext uri="{9D8B030D-6E8A-4147-A177-3AD203B41FA5}">
                      <a16:colId xmlns:a16="http://schemas.microsoft.com/office/drawing/2014/main" val="2191703819"/>
                    </a:ext>
                  </a:extLst>
                </a:gridCol>
                <a:gridCol w="3953529">
                  <a:extLst>
                    <a:ext uri="{9D8B030D-6E8A-4147-A177-3AD203B41FA5}">
                      <a16:colId xmlns:a16="http://schemas.microsoft.com/office/drawing/2014/main" val="1102162419"/>
                    </a:ext>
                  </a:extLst>
                </a:gridCol>
              </a:tblGrid>
              <a:tr h="276000">
                <a:tc>
                  <a:txBody>
                    <a:bodyPr/>
                    <a:lstStyle/>
                    <a:p>
                      <a:endParaRPr lang="it-IT" sz="1100" dirty="0">
                        <a:solidFill>
                          <a:schemeClr val="bg1"/>
                        </a:solidFill>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100" dirty="0" err="1">
                          <a:solidFill>
                            <a:schemeClr val="tx1"/>
                          </a:solidFill>
                        </a:rPr>
                        <a:t>Fee</a:t>
                      </a:r>
                      <a:r>
                        <a:rPr lang="it-IT" sz="1100" dirty="0">
                          <a:solidFill>
                            <a:schemeClr val="tx1"/>
                          </a:solidFill>
                        </a:rPr>
                        <a:t> </a:t>
                      </a:r>
                      <a:r>
                        <a:rPr lang="it-IT" sz="1100" dirty="0" err="1">
                          <a:solidFill>
                            <a:schemeClr val="tx1"/>
                          </a:solidFill>
                        </a:rPr>
                        <a:t>type</a:t>
                      </a:r>
                      <a:endParaRPr lang="it-IT" sz="1100" dirty="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it-IT" sz="1100" dirty="0">
                          <a:solidFill>
                            <a:schemeClr val="tx1"/>
                          </a:solidFill>
                        </a:rPr>
                        <a:t>Light </a:t>
                      </a:r>
                      <a:r>
                        <a:rPr lang="it-IT" sz="1100" dirty="0" err="1">
                          <a:solidFill>
                            <a:schemeClr val="tx1"/>
                          </a:solidFill>
                        </a:rPr>
                        <a:t>Operational</a:t>
                      </a:r>
                      <a:r>
                        <a:rPr lang="it-IT" sz="1100" dirty="0">
                          <a:solidFill>
                            <a:schemeClr val="tx1"/>
                          </a:solidFill>
                        </a:rPr>
                        <a:t> Due Dilig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it-IT" sz="1100" dirty="0">
                          <a:solidFill>
                            <a:schemeClr val="tx1"/>
                          </a:solidFill>
                        </a:rPr>
                        <a:t>Full </a:t>
                      </a:r>
                      <a:r>
                        <a:rPr lang="it-IT" sz="1100" dirty="0" err="1">
                          <a:solidFill>
                            <a:schemeClr val="tx1"/>
                          </a:solidFill>
                        </a:rPr>
                        <a:t>Operational</a:t>
                      </a:r>
                      <a:r>
                        <a:rPr lang="it-IT" sz="1100" dirty="0">
                          <a:solidFill>
                            <a:schemeClr val="tx1"/>
                          </a:solidFill>
                        </a:rPr>
                        <a:t> Due Diligence</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6590178"/>
                  </a:ext>
                </a:extLst>
              </a:tr>
              <a:tr h="276000">
                <a:tc>
                  <a:txBody>
                    <a:bodyPr/>
                    <a:lstStyle/>
                    <a:p>
                      <a:endParaRPr lang="it-IT" sz="1100" dirty="0">
                        <a:solidFill>
                          <a:schemeClr val="bg1"/>
                        </a:solidFill>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t-IT" sz="1100" dirty="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t-IT" sz="1100" dirty="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lang="it-IT" sz="1100" dirty="0">
                        <a:solidFill>
                          <a:schemeClr val="tx1"/>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8499364"/>
                  </a:ext>
                </a:extLst>
              </a:tr>
              <a:tr h="276000">
                <a:tc rowSpan="3">
                  <a:txBody>
                    <a:bodyPr/>
                    <a:lstStyle/>
                    <a:p>
                      <a:pPr algn="ctr"/>
                      <a:r>
                        <a:rPr lang="it-IT" sz="1200" dirty="0">
                          <a:solidFill>
                            <a:schemeClr val="bg1"/>
                          </a:solidFill>
                          <a:latin typeface="+mj-lt"/>
                        </a:rPr>
                        <a:t>SMALL-MEDIUM DEAL</a:t>
                      </a:r>
                    </a:p>
                  </a:txBody>
                  <a:tcPr anchor="ctr">
                    <a:lnL w="12700" cap="flat" cmpd="sng" algn="ctr">
                      <a:solidFill>
                        <a:srgbClr val="FFE6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E600"/>
                      </a:solid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100" dirty="0">
                          <a:solidFill>
                            <a:schemeClr val="bg1"/>
                          </a:solidFill>
                        </a:rPr>
                        <a:t>Deal </a:t>
                      </a:r>
                      <a:r>
                        <a:rPr lang="it-IT" sz="1100" dirty="0" err="1">
                          <a:solidFill>
                            <a:schemeClr val="bg1"/>
                          </a:solidFill>
                        </a:rPr>
                        <a:t>interrupted</a:t>
                      </a:r>
                      <a:r>
                        <a:rPr lang="it-IT" sz="1100" dirty="0">
                          <a:solidFill>
                            <a:schemeClr val="bg1"/>
                          </a:solidFill>
                        </a:rPr>
                        <a:t> </a:t>
                      </a:r>
                      <a:r>
                        <a:rPr lang="it-IT" sz="1100" dirty="0" err="1">
                          <a:solidFill>
                            <a:schemeClr val="bg1"/>
                          </a:solidFill>
                        </a:rPr>
                        <a:t>fee</a:t>
                      </a:r>
                      <a:endParaRPr lang="it-IT" sz="11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E6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100" dirty="0">
                          <a:solidFill>
                            <a:schemeClr val="bg1"/>
                          </a:solidFill>
                        </a:rPr>
                        <a:t>X</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E6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100" dirty="0">
                          <a:solidFill>
                            <a:schemeClr val="bg1"/>
                          </a:solidFill>
                        </a:rPr>
                        <a:t>X</a:t>
                      </a:r>
                    </a:p>
                  </a:txBody>
                  <a:tcPr>
                    <a:lnL w="12700" cap="flat" cmpd="sng" algn="ctr">
                      <a:noFill/>
                      <a:prstDash val="solid"/>
                      <a:round/>
                      <a:headEnd type="none" w="med" len="med"/>
                      <a:tailEnd type="none" w="med" len="med"/>
                    </a:lnL>
                    <a:lnR w="12700" cap="flat" cmpd="sng" algn="ctr">
                      <a:solidFill>
                        <a:srgbClr val="FFE600"/>
                      </a:solidFill>
                      <a:prstDash val="solid"/>
                      <a:round/>
                      <a:headEnd type="none" w="med" len="med"/>
                      <a:tailEnd type="none" w="med" len="med"/>
                    </a:lnR>
                    <a:lnT w="12700" cap="flat" cmpd="sng" algn="ctr">
                      <a:solidFill>
                        <a:srgbClr val="FFE6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5707167"/>
                  </a:ext>
                </a:extLst>
              </a:tr>
              <a:tr h="276000">
                <a:tc vMerge="1">
                  <a:txBody>
                    <a:bodyPr/>
                    <a:lstStyle/>
                    <a:p>
                      <a:endParaRPr lang="it-IT" sz="1100" dirty="0"/>
                    </a:p>
                  </a:txBody>
                  <a:tcPr/>
                </a:tc>
                <a:tc>
                  <a:txBody>
                    <a:bodyPr/>
                    <a:lstStyle/>
                    <a:p>
                      <a:r>
                        <a:rPr lang="it-IT" sz="1100" dirty="0">
                          <a:solidFill>
                            <a:schemeClr val="bg1"/>
                          </a:solidFill>
                        </a:rPr>
                        <a:t>Success </a:t>
                      </a:r>
                      <a:r>
                        <a:rPr lang="it-IT" sz="1100" dirty="0" err="1">
                          <a:solidFill>
                            <a:schemeClr val="bg1"/>
                          </a:solidFill>
                        </a:rPr>
                        <a:t>fee</a:t>
                      </a:r>
                      <a:endParaRPr lang="it-IT" sz="11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100" dirty="0">
                          <a:solidFill>
                            <a:schemeClr val="bg1"/>
                          </a:solidFill>
                        </a:rPr>
                        <a:t>X</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100" dirty="0">
                          <a:solidFill>
                            <a:schemeClr val="bg1"/>
                          </a:solidFill>
                        </a:rPr>
                        <a:t>X</a:t>
                      </a:r>
                    </a:p>
                  </a:txBody>
                  <a:tcPr>
                    <a:lnL w="12700" cap="flat" cmpd="sng" algn="ctr">
                      <a:noFill/>
                      <a:prstDash val="solid"/>
                      <a:round/>
                      <a:headEnd type="none" w="med" len="med"/>
                      <a:tailEnd type="none" w="med" len="med"/>
                    </a:lnL>
                    <a:lnR w="12700" cap="flat" cmpd="sng" algn="ctr">
                      <a:solidFill>
                        <a:srgbClr val="FFE6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0695814"/>
                  </a:ext>
                </a:extLst>
              </a:tr>
              <a:tr h="276000">
                <a:tc vMerge="1">
                  <a:txBody>
                    <a:bodyPr/>
                    <a:lstStyle/>
                    <a:p>
                      <a:endParaRPr lang="it-IT" sz="1100" dirty="0"/>
                    </a:p>
                  </a:txBody>
                  <a:tcPr>
                    <a:lnT w="12700" cmpd="sng">
                      <a:noFill/>
                    </a:lnT>
                  </a:tcPr>
                </a:tc>
                <a:tc>
                  <a:txBody>
                    <a:bodyPr/>
                    <a:lstStyle/>
                    <a:p>
                      <a:r>
                        <a:rPr lang="it-IT" sz="1100" b="1" dirty="0" err="1">
                          <a:solidFill>
                            <a:srgbClr val="FFE600"/>
                          </a:solidFill>
                          <a:latin typeface="+mj-lt"/>
                        </a:rPr>
                        <a:t>Completed</a:t>
                      </a:r>
                      <a:r>
                        <a:rPr lang="it-IT" sz="1100" b="1" dirty="0">
                          <a:solidFill>
                            <a:srgbClr val="FFE600"/>
                          </a:solidFill>
                          <a:latin typeface="+mj-lt"/>
                        </a:rPr>
                        <a:t> deal </a:t>
                      </a:r>
                      <a:r>
                        <a:rPr lang="it-IT" sz="1100" b="1" dirty="0" err="1">
                          <a:solidFill>
                            <a:srgbClr val="FFE600"/>
                          </a:solidFill>
                          <a:latin typeface="+mj-lt"/>
                        </a:rPr>
                        <a:t>fee</a:t>
                      </a:r>
                      <a:endParaRPr lang="it-IT" sz="1100" b="1" dirty="0">
                        <a:solidFill>
                          <a:srgbClr val="FFE600"/>
                        </a:solidFill>
                        <a:latin typeface="+mj-lt"/>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it-IT" sz="1100" b="1" dirty="0">
                          <a:solidFill>
                            <a:srgbClr val="FFE600"/>
                          </a:solidFill>
                          <a:latin typeface="+mj-lt"/>
                        </a:rPr>
                        <a:t>X</a:t>
                      </a:r>
                    </a:p>
                  </a:txBody>
                  <a:tcPr>
                    <a:lnL w="12700" cmpd="sng">
                      <a:noFill/>
                    </a:lnL>
                    <a:lnR w="12700" cmpd="sng">
                      <a:noFill/>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it-IT" sz="1100" b="1" dirty="0">
                          <a:solidFill>
                            <a:srgbClr val="FFE600"/>
                          </a:solidFill>
                          <a:latin typeface="+mj-lt"/>
                        </a:rPr>
                        <a:t>X</a:t>
                      </a:r>
                    </a:p>
                  </a:txBody>
                  <a:tcPr>
                    <a:lnL w="12700" cmpd="sng">
                      <a:noFill/>
                    </a:lnL>
                    <a:lnR w="12700" cap="flat" cmpd="sng" algn="ctr">
                      <a:solidFill>
                        <a:srgbClr val="FFE6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304491246"/>
                  </a:ext>
                </a:extLst>
              </a:tr>
              <a:tr h="276000">
                <a:tc>
                  <a:txBody>
                    <a:bodyPr/>
                    <a:lstStyle/>
                    <a:p>
                      <a:endParaRPr lang="it-IT" sz="1100" dirty="0">
                        <a:solidFill>
                          <a:schemeClr val="bg1"/>
                        </a:solidFill>
                        <a:latin typeface="+mj-lt"/>
                      </a:endParaRPr>
                    </a:p>
                  </a:txBody>
                  <a:tcPr anchor="ctr">
                    <a:lnL w="12700" cap="flat" cmpd="sng" algn="ctr">
                      <a:noFill/>
                      <a:prstDash val="solid"/>
                      <a:round/>
                      <a:headEnd type="none" w="med" len="med"/>
                      <a:tailEnd type="none" w="med" len="med"/>
                    </a:lnL>
                    <a:lnR w="12700" cmpd="sng">
                      <a:noFill/>
                    </a:lnR>
                    <a:lnT w="12700" cap="flat" cmpd="sng" algn="ctr">
                      <a:solidFill>
                        <a:srgbClr val="FFE600"/>
                      </a:solid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it-IT" sz="1100" dirty="0">
                        <a:solidFill>
                          <a:schemeClr val="bg1"/>
                        </a:solidFill>
                      </a:endParaRPr>
                    </a:p>
                  </a:txBody>
                  <a:tcPr>
                    <a:lnL w="12700" cmpd="sng">
                      <a:noFill/>
                    </a:lnL>
                    <a:lnR w="12700" cmpd="sng">
                      <a:noFill/>
                    </a:lnR>
                    <a:lnT w="12700" cap="flat" cmpd="sng" algn="ctr">
                      <a:solidFill>
                        <a:srgbClr val="FFE600"/>
                      </a:solid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t-IT" sz="1100" dirty="0">
                          <a:solidFill>
                            <a:schemeClr val="bg1"/>
                          </a:solidFill>
                        </a:rPr>
                        <a:t> </a:t>
                      </a:r>
                    </a:p>
                  </a:txBody>
                  <a:tcPr>
                    <a:lnL w="12700" cmpd="sng">
                      <a:noFill/>
                    </a:lnL>
                    <a:lnR w="12700" cmpd="sng">
                      <a:noFill/>
                    </a:lnR>
                    <a:lnT w="12700" cap="flat" cmpd="sng" algn="ctr">
                      <a:solidFill>
                        <a:srgbClr val="FFE600"/>
                      </a:solid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t-IT" sz="1100" dirty="0">
                        <a:solidFill>
                          <a:schemeClr val="bg1"/>
                        </a:solidFill>
                      </a:endParaRPr>
                    </a:p>
                  </a:txBody>
                  <a:tcPr>
                    <a:lnL w="12700" cmpd="sng">
                      <a:noFill/>
                    </a:lnL>
                    <a:lnR w="12700" cap="flat" cmpd="sng" algn="ctr">
                      <a:noFill/>
                      <a:prstDash val="solid"/>
                      <a:round/>
                      <a:headEnd type="none" w="med" len="med"/>
                      <a:tailEnd type="none" w="med" len="med"/>
                    </a:lnR>
                    <a:lnT w="12700" cap="flat" cmpd="sng" algn="ctr">
                      <a:solidFill>
                        <a:srgbClr val="FFE600"/>
                      </a:solid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6355330"/>
                  </a:ext>
                </a:extLst>
              </a:tr>
              <a:tr h="276000">
                <a:tc rowSpan="3">
                  <a:txBody>
                    <a:bodyPr/>
                    <a:lstStyle/>
                    <a:p>
                      <a:pPr algn="ctr"/>
                      <a:r>
                        <a:rPr lang="it-IT" sz="1100" dirty="0">
                          <a:solidFill>
                            <a:schemeClr val="bg1"/>
                          </a:solidFill>
                          <a:latin typeface="+mj-lt"/>
                        </a:rPr>
                        <a:t>MEDIUM-LARGE DEAL</a:t>
                      </a:r>
                    </a:p>
                  </a:txBody>
                  <a:tcPr anchor="ctr">
                    <a:lnL w="12700" cap="flat" cmpd="sng" algn="ctr">
                      <a:solidFill>
                        <a:srgbClr val="FFE600"/>
                      </a:solidFill>
                      <a:prstDash val="solid"/>
                      <a:round/>
                      <a:headEnd type="none" w="med" len="med"/>
                      <a:tailEnd type="none" w="med" len="med"/>
                    </a:lnL>
                    <a:lnR w="12700" cmpd="sng">
                      <a:noFill/>
                    </a:lnR>
                    <a:lnT w="12700" cap="flat" cmpd="sng" algn="ctr">
                      <a:solidFill>
                        <a:srgbClr val="FFE600"/>
                      </a:solid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t-IT" sz="1100" dirty="0">
                          <a:solidFill>
                            <a:schemeClr val="bg1"/>
                          </a:solidFill>
                        </a:rPr>
                        <a:t>Deal </a:t>
                      </a:r>
                      <a:r>
                        <a:rPr lang="it-IT" sz="1100" dirty="0" err="1">
                          <a:solidFill>
                            <a:schemeClr val="bg1"/>
                          </a:solidFill>
                        </a:rPr>
                        <a:t>interrupted</a:t>
                      </a:r>
                      <a:r>
                        <a:rPr lang="it-IT" sz="1100" dirty="0">
                          <a:solidFill>
                            <a:schemeClr val="bg1"/>
                          </a:solidFill>
                        </a:rPr>
                        <a:t> </a:t>
                      </a:r>
                      <a:r>
                        <a:rPr lang="it-IT" sz="1100" dirty="0" err="1">
                          <a:solidFill>
                            <a:schemeClr val="bg1"/>
                          </a:solidFill>
                        </a:rPr>
                        <a:t>fee</a:t>
                      </a:r>
                      <a:endParaRPr lang="it-IT" sz="1100" dirty="0">
                        <a:solidFill>
                          <a:schemeClr val="bg1"/>
                        </a:solidFill>
                      </a:endParaRPr>
                    </a:p>
                  </a:txBody>
                  <a:tcPr>
                    <a:lnL w="12700" cmpd="sng">
                      <a:noFill/>
                    </a:lnL>
                    <a:lnR w="12700" cmpd="sng">
                      <a:noFill/>
                    </a:lnR>
                    <a:lnT w="12700" cap="flat" cmpd="sng" algn="ctr">
                      <a:solidFill>
                        <a:srgbClr val="FFE6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chemeClr val="bg1"/>
                          </a:solidFill>
                          <a:effectLst/>
                          <a:uLnTx/>
                          <a:uFillTx/>
                          <a:latin typeface="EYInterstate Light"/>
                          <a:ea typeface="+mn-ea"/>
                          <a:cs typeface="+mn-cs"/>
                        </a:rPr>
                        <a:t>X </a:t>
                      </a:r>
                    </a:p>
                  </a:txBody>
                  <a:tcPr>
                    <a:lnL w="12700" cmpd="sng">
                      <a:noFill/>
                    </a:lnL>
                    <a:lnR w="12700" cmpd="sng">
                      <a:noFill/>
                    </a:lnR>
                    <a:lnT w="12700" cap="flat" cmpd="sng" algn="ctr">
                      <a:solidFill>
                        <a:srgbClr val="FFE6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chemeClr val="bg1"/>
                          </a:solidFill>
                          <a:effectLst/>
                          <a:uLnTx/>
                          <a:uFillTx/>
                          <a:latin typeface="EYInterstate Light"/>
                          <a:ea typeface="+mn-ea"/>
                          <a:cs typeface="+mn-cs"/>
                        </a:rPr>
                        <a:t>X </a:t>
                      </a:r>
                    </a:p>
                  </a:txBody>
                  <a:tcPr>
                    <a:lnL w="12700" cmpd="sng">
                      <a:noFill/>
                    </a:lnL>
                    <a:lnR w="12700" cap="flat" cmpd="sng" algn="ctr">
                      <a:solidFill>
                        <a:srgbClr val="FFE600"/>
                      </a:solidFill>
                      <a:prstDash val="solid"/>
                      <a:round/>
                      <a:headEnd type="none" w="med" len="med"/>
                      <a:tailEnd type="none" w="med" len="med"/>
                    </a:lnR>
                    <a:lnT w="12700" cap="flat" cmpd="sng" algn="ctr">
                      <a:solidFill>
                        <a:srgbClr val="FFE6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9840839"/>
                  </a:ext>
                </a:extLst>
              </a:tr>
              <a:tr h="276000">
                <a:tc vMerge="1">
                  <a:txBody>
                    <a:bodyPr/>
                    <a:lstStyle/>
                    <a:p>
                      <a:endParaRPr lang="it-IT" sz="1100" dirty="0"/>
                    </a:p>
                  </a:txBody>
                  <a:tcPr/>
                </a:tc>
                <a:tc>
                  <a:txBody>
                    <a:bodyPr/>
                    <a:lstStyle/>
                    <a:p>
                      <a:r>
                        <a:rPr lang="it-IT" sz="1100" dirty="0">
                          <a:solidFill>
                            <a:schemeClr val="bg1"/>
                          </a:solidFill>
                        </a:rPr>
                        <a:t>Success </a:t>
                      </a:r>
                      <a:r>
                        <a:rPr lang="it-IT" sz="1100" dirty="0" err="1">
                          <a:solidFill>
                            <a:schemeClr val="bg1"/>
                          </a:solidFill>
                        </a:rPr>
                        <a:t>fee</a:t>
                      </a:r>
                      <a:endParaRPr lang="it-IT" sz="1100" dirty="0">
                        <a:solidFill>
                          <a:schemeClr val="bg1"/>
                        </a:solidFill>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chemeClr val="bg1"/>
                          </a:solidFill>
                          <a:effectLst/>
                          <a:uLnTx/>
                          <a:uFillTx/>
                          <a:latin typeface="EYInterstate Light"/>
                          <a:ea typeface="+mn-ea"/>
                          <a:cs typeface="+mn-cs"/>
                        </a:rPr>
                        <a:t>X </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chemeClr val="bg1"/>
                          </a:solidFill>
                          <a:effectLst/>
                          <a:uLnTx/>
                          <a:uFillTx/>
                          <a:latin typeface="EYInterstate Light"/>
                          <a:ea typeface="+mn-ea"/>
                          <a:cs typeface="+mn-cs"/>
                        </a:rPr>
                        <a:t>X </a:t>
                      </a:r>
                    </a:p>
                  </a:txBody>
                  <a:tcPr>
                    <a:lnL w="12700" cmpd="sng">
                      <a:noFill/>
                    </a:lnL>
                    <a:lnR w="12700" cap="flat" cmpd="sng" algn="ctr">
                      <a:solidFill>
                        <a:srgbClr val="FFE600"/>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4102882"/>
                  </a:ext>
                </a:extLst>
              </a:tr>
              <a:tr h="276000">
                <a:tc vMerge="1">
                  <a:txBody>
                    <a:bodyPr/>
                    <a:lstStyle/>
                    <a:p>
                      <a:endParaRPr lang="it-IT" sz="1100" dirty="0"/>
                    </a:p>
                  </a:txBody>
                  <a:tcPr>
                    <a:lnT w="12700" cmpd="sng">
                      <a:noFill/>
                    </a:lnT>
                  </a:tcPr>
                </a:tc>
                <a:tc>
                  <a:txBody>
                    <a:bodyPr/>
                    <a:lstStyle/>
                    <a:p>
                      <a:r>
                        <a:rPr lang="it-IT" sz="1100" b="1" dirty="0" err="1">
                          <a:solidFill>
                            <a:srgbClr val="FFE600"/>
                          </a:solidFill>
                          <a:latin typeface="+mj-lt"/>
                        </a:rPr>
                        <a:t>Completed</a:t>
                      </a:r>
                      <a:r>
                        <a:rPr lang="it-IT" sz="1100" b="1" dirty="0">
                          <a:solidFill>
                            <a:srgbClr val="FFE600"/>
                          </a:solidFill>
                          <a:latin typeface="+mj-lt"/>
                        </a:rPr>
                        <a:t> deal </a:t>
                      </a:r>
                      <a:r>
                        <a:rPr lang="it-IT" sz="1100" b="1" dirty="0" err="1">
                          <a:solidFill>
                            <a:srgbClr val="FFE600"/>
                          </a:solidFill>
                          <a:latin typeface="+mj-lt"/>
                        </a:rPr>
                        <a:t>fee</a:t>
                      </a:r>
                      <a:endParaRPr lang="it-IT" sz="1100" b="1" dirty="0">
                        <a:solidFill>
                          <a:srgbClr val="FFE600"/>
                        </a:solidFill>
                        <a:latin typeface="+mj-lt"/>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FFE600"/>
                          </a:solidFill>
                          <a:effectLst/>
                          <a:uLnTx/>
                          <a:uFillTx/>
                          <a:latin typeface="+mj-lt"/>
                          <a:ea typeface="+mn-ea"/>
                          <a:cs typeface="+mn-cs"/>
                        </a:rPr>
                        <a:t>X </a:t>
                      </a:r>
                    </a:p>
                  </a:txBody>
                  <a:tcPr>
                    <a:lnL w="12700" cmpd="sng">
                      <a:noFill/>
                    </a:lnL>
                    <a:lnR w="12700" cmpd="sng">
                      <a:noFill/>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FFE600"/>
                          </a:solidFill>
                          <a:effectLst/>
                          <a:uLnTx/>
                          <a:uFillTx/>
                          <a:latin typeface="+mj-lt"/>
                          <a:ea typeface="+mn-ea"/>
                          <a:cs typeface="+mn-cs"/>
                        </a:rPr>
                        <a:t>X </a:t>
                      </a:r>
                    </a:p>
                  </a:txBody>
                  <a:tcPr>
                    <a:lnL w="12700" cmpd="sng">
                      <a:noFill/>
                    </a:lnL>
                    <a:lnR w="12700" cap="flat" cmpd="sng" algn="ctr">
                      <a:solidFill>
                        <a:srgbClr val="FFE6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E600"/>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46182724"/>
                  </a:ext>
                </a:extLst>
              </a:tr>
            </a:tbl>
          </a:graphicData>
        </a:graphic>
      </p:graphicFrame>
    </p:spTree>
    <p:extLst>
      <p:ext uri="{BB962C8B-B14F-4D97-AF65-F5344CB8AC3E}">
        <p14:creationId xmlns:p14="http://schemas.microsoft.com/office/powerpoint/2010/main" val="463850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0</TotalTime>
  <Words>573</Words>
  <Application>Microsoft Office PowerPoint</Application>
  <PresentationFormat>Widescreen</PresentationFormat>
  <Paragraphs>78</Paragraphs>
  <Slides>2</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Calibri</vt:lpstr>
      <vt:lpstr>EYInterstate</vt:lpstr>
      <vt:lpstr>EYInterstate Light</vt:lpstr>
      <vt:lpstr>EY dark background</vt:lpstr>
      <vt:lpstr>think-cell Slide</vt:lpstr>
      <vt:lpstr>Only experienced professionals can discover value creation opportunities within a target operational model, combining solidity and reliability with freshness and innovativeness</vt:lpstr>
      <vt:lpstr>We propose a client-tailored fee scheme, based on ODD’s breadth and deal’s siz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y investigating 4 main areas of analysis, Operational Due Diligence assess whether operations are suitable to the business model or if improvements are required and/or potential upsides could be obtained after the deal</dc:title>
  <dc:creator>Ettore Minelli</dc:creator>
  <cp:lastModifiedBy>Ettore Minelli</cp:lastModifiedBy>
  <cp:revision>1</cp:revision>
  <dcterms:created xsi:type="dcterms:W3CDTF">2022-10-04T16:12:03Z</dcterms:created>
  <dcterms:modified xsi:type="dcterms:W3CDTF">2022-10-05T17:26:55Z</dcterms:modified>
</cp:coreProperties>
</file>